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1.xml" ContentType="application/vnd.openxmlformats-officedocument.themeOverride+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5114" r:id="rId4"/>
    <p:sldMasterId id="2147485119" r:id="rId5"/>
  </p:sldMasterIdLst>
  <p:notesMasterIdLst>
    <p:notesMasterId r:id="rId12"/>
  </p:notesMasterIdLst>
  <p:handoutMasterIdLst>
    <p:handoutMasterId r:id="rId13"/>
  </p:handoutMasterIdLst>
  <p:sldIdLst>
    <p:sldId id="2147482554" r:id="rId6"/>
    <p:sldId id="2147483615" r:id="rId7"/>
    <p:sldId id="286" r:id="rId8"/>
    <p:sldId id="2147483614" r:id="rId9"/>
    <p:sldId id="2147483616" r:id="rId10"/>
    <p:sldId id="287" r:id="rId11"/>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86F9D803-EAC1-1AA3-2281-34E69E597C78}" name="Hannah Hopkins (Mulcahy Consulting Inc)" initials="HH" userId="S::v-hhopkins@microsoft.com::41ad460d-3a92-437a-8db1-5b068207d67e" providerId="AD"/>
  <p188:author id="{68F95D0D-0218-923E-ABAD-EC4D73DDC450}" name="Scott Adams" initials="" userId="S::scadam@microsoft.com::2e0bb53a-50f4-4ef4-b3ed-4327e607901e" providerId="AD"/>
  <p188:author id="{5A02B80E-149C-7DFD-4E8D-3782118F40E7}" name="Alicia Peterson (NAYAMODE INC)" initials="AP" userId="S::v-petersonal@microsoft.com::f8898314-5523-4930-acf0-2b563b2b4dc9" providerId="AD"/>
  <p188:author id="{510D8F14-A022-0A99-8116-51D39974EA9F}" name="Anne Fernando" initials="AF" userId="S::anfern@microsoft.com::c02b9aa4-0131-48a6-ac5f-35d8d38dc7d1" providerId="AD"/>
  <p188:author id="{E7FE3741-CC67-CB32-C8DC-B87A1AF6B124}" name="Caitlin Odame" initials="CO" userId="S::caitlinodame@microsoft.com::7a244b68-dea7-4f6e-b5de-4621d24877e6" providerId="AD"/>
  <p188:author id="{8CCDF05C-9913-2C10-7BD5-0DD63B55DE99}" name="Vid Chari" initials="VC" userId="S::vichari@microsoft.com::9217d3af-3a1e-4c18-ba25-206cd1ddbcfa" providerId="AD"/>
  <p188:author id="{F7D53E64-ED34-8FD0-F86B-BD1774EAC744}" name="Racheal Skoko" initials="RS" userId="S::racheal@theodigogroup.com::21cdd38b-926c-455d-b625-c1a87f1ae0ea" providerId="AD"/>
  <p188:author id="{66E121CC-5CF3-0202-0B4D-DF1DDF1CFCA2}" name="Kerry Cobb" initials="KC" userId="S::kerry_theodigogroup.com#ext#@microsoft.onmicrosoft.com::89f3f33f-3c42-4fdd-ae26-4995b5776285" providerId="AD"/>
  <p188:author id="{1A65CFCC-B693-3F3F-8805-0538B4F8FE19}" name="Kate Moran (BEYONDSOFT CONSULTING INC)" initials="KI" userId="S::v-katemoran@microsoft.com::859a87ad-c469-4d9a-af8d-9400eb431709" providerId="AD"/>
  <p188:author id="{0A5C98D6-64E3-C859-C3CF-A788E99B286A}" name="Paula Costa" initials="PC" userId="S::paulaco@microsoft.com::6168b8aa-f64d-4741-99ae-b8d2d3488c7f" providerId="AD"/>
  <p188:author id="{16B3E6EB-1235-FCC0-D390-6DB61CAD54BA}" name="Ambreen Hassan" initials="AH" userId="S::amhassan@microsoft.com::defa224d-8c47-4a24-8c98-cc74beae06fc" providerId="AD"/>
  <p188:author id="{D253CFEC-7516-56CF-432D-70693E42080D}" name="Sydney Ackerman" initials="SA" userId="S::sydney_theodigogroup.com#ext#@microsoft.onmicrosoft.com::55db1ce8-f7bb-4886-a9d4-3b42afb92a00" providerId="AD"/>
  <p188:author id="{BC6CF3F0-B8ED-5DB7-0746-03965B370AE5}" name="Louise Morgan" initials="LM" userId="S::louise@theodigogroup.com::f3afb773-4931-4b67-8a9f-eef20a768a93" providerId="AD"/>
  <p188:author id="{E01801F9-EC84-843F-DDA3-5B0457DF3F26}" name="Reamonn Stynes" initials="" userId="S::restynes@microsoft.com::018d4f0e-4d83-491e-a225-fa06509ca0f2" providerId="AD"/>
  <p188:author id="{D16FA4FC-7EB5-3576-422F-5F849579F02F}" name="Sydney Ackerman (Mulcahy Consulting Inc)" initials="SA" userId="S::v-syackerman@microsoft.com::19537266-43a7-47bd-ad6c-9608d4e35a7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41CC"/>
    <a:srgbClr val="000000"/>
    <a:srgbClr val="E6E6E6"/>
    <a:srgbClr val="313131"/>
    <a:srgbClr val="2A446F"/>
    <a:srgbClr val="FEA874"/>
    <a:srgbClr val="2DB4FF"/>
    <a:srgbClr val="152A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AA95B7-F0BD-EB1B-29A8-844B616AC15C}" v="22" dt="2026-04-30T17:43:25.623"/>
    <p1510:client id="{80E02A71-F916-2922-D86A-E76CC26DCE1C}" v="2" dt="2026-04-29T20:34:11.363"/>
    <p1510:client id="{8B23E349-40A7-EE78-A53D-0D55231EC4B9}" v="167" dt="2026-04-29T23:34:27.462"/>
    <p1510:client id="{B087937E-9571-4BEC-8E1B-093BEDFD5010}" v="74" dt="2026-04-30T17:53:53.832"/>
    <p1510:client id="{F477FD75-CC98-E4E3-680B-88AE91A99E72}" v="4" dt="2026-04-29T23:35:00.3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6E62D67-21B7-C36B-1131-8066E0E99ED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17FC0B3-5352-58D8-A83C-4AE888D3413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F94C92-970F-4CE9-BED7-0AD0CD42FBF6}" type="datetimeFigureOut">
              <a:rPr lang="en-US" smtClean="0"/>
              <a:t>5/29/2026</a:t>
            </a:fld>
            <a:endParaRPr lang="en-US"/>
          </a:p>
        </p:txBody>
      </p:sp>
      <p:sp>
        <p:nvSpPr>
          <p:cNvPr id="4" name="Footer Placeholder 3">
            <a:extLst>
              <a:ext uri="{FF2B5EF4-FFF2-40B4-BE49-F238E27FC236}">
                <a16:creationId xmlns:a16="http://schemas.microsoft.com/office/drawing/2014/main" id="{E35829F1-ADA2-535A-8219-4A1CBB62EB6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F30B519-0615-0606-82F6-CC4ACA8C92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A18B0CB-C2CC-4D98-B48F-C7B883BDF8F3}" type="slidenum">
              <a:rPr lang="en-US" smtClean="0"/>
              <a:t>‹#›</a:t>
            </a:fld>
            <a:endParaRPr lang="en-US"/>
          </a:p>
        </p:txBody>
      </p:sp>
    </p:spTree>
    <p:extLst>
      <p:ext uri="{BB962C8B-B14F-4D97-AF65-F5344CB8AC3E}">
        <p14:creationId xmlns:p14="http://schemas.microsoft.com/office/powerpoint/2010/main" val="44538350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409CC4-E296-4139-BF30-DF6AE28F24B8}" type="datetimeFigureOut">
              <a:rPr lang="en-GB" smtClean="0"/>
              <a:t>29/05/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416CC2-86DA-43DA-AE05-04363E303DDB}" type="slidenum">
              <a:rPr lang="en-GB" smtClean="0"/>
              <a:t>‹#›</a:t>
            </a:fld>
            <a:endParaRPr lang="en-GB"/>
          </a:p>
        </p:txBody>
      </p:sp>
    </p:spTree>
    <p:extLst>
      <p:ext uri="{BB962C8B-B14F-4D97-AF65-F5344CB8AC3E}">
        <p14:creationId xmlns:p14="http://schemas.microsoft.com/office/powerpoint/2010/main" val="20065263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87DFCE-1CE0-4960-AAE4-D43DC35C5B3C}"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042207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416CC2-86DA-43DA-AE05-04363E303DD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613847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E668F-C70A-63A0-48D6-1A39A409BA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0D52CE-1E40-57A4-0024-79B85D41BA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705BC5-D455-2264-C9FE-74E1A460363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CDFEA66-8C52-76F8-DF90-0B12C28278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416CC2-86DA-43DA-AE05-04363E303DD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56125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E7424F-2160-DC84-E808-F295BB231C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AFCD86-EF3B-01C5-9C51-37ECDD97B1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57C7AD-C964-EAE1-9E87-B212D505F6A1}"/>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4F030D5C-24D1-B5F4-9B49-54DB00048A0B}"/>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Date Placeholder 5">
            <a:extLst>
              <a:ext uri="{FF2B5EF4-FFF2-40B4-BE49-F238E27FC236}">
                <a16:creationId xmlns:a16="http://schemas.microsoft.com/office/drawing/2014/main" id="{B9893BF3-A6B6-7F74-5D4B-96AD4989DB6C}"/>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9/2026 9: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6872C2A-BEF4-F676-6A99-A6C2AF6C1AE5}"/>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7924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C761E-740A-0231-679A-B2752D21A3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06DAF5-909A-7638-FD89-052D9805DF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919AB1-16C7-4C02-ACF6-E38978278230}"/>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1E5F3C1E-0EDC-AA2E-C992-115E32EFB0F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Date Placeholder 5">
            <a:extLst>
              <a:ext uri="{FF2B5EF4-FFF2-40B4-BE49-F238E27FC236}">
                <a16:creationId xmlns:a16="http://schemas.microsoft.com/office/drawing/2014/main" id="{1F81C646-EF94-4A51-603F-46F8A6122D6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9/2026 9: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214051F7-4E9F-5196-60AF-BB9D1F32ED82}"/>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8339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F23754-2712-BE79-D697-17072D703C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520996-E153-1D41-ADAE-534E507DF6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110E71-D230-DD56-AF63-35EDDD0913F7}"/>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27DE95EF-28F2-3DE1-882F-7846A6B496EE}"/>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Date Placeholder 5">
            <a:extLst>
              <a:ext uri="{FF2B5EF4-FFF2-40B4-BE49-F238E27FC236}">
                <a16:creationId xmlns:a16="http://schemas.microsoft.com/office/drawing/2014/main" id="{9370E0F0-8D81-F145-46CE-7DFD04D79A1D}"/>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9/2026 9: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449D9C3B-E8E4-4045-9033-C38B91A7D161}"/>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01285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 – B">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descr="A close-up of a computer screen&#10;&#10;AI-generated content may be incorrect.">
            <a:extLst>
              <a:ext uri="{FF2B5EF4-FFF2-40B4-BE49-F238E27FC236}">
                <a16:creationId xmlns:a16="http://schemas.microsoft.com/office/drawing/2014/main" id="{866A7BFF-99CD-9437-E86E-6132FB309B1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48929" y="251769"/>
            <a:ext cx="9943071" cy="6435726"/>
          </a:xfrm>
          <a:prstGeom prst="rect">
            <a:avLst/>
          </a:prstGeom>
        </p:spPr>
      </p:pic>
      <p:sp>
        <p:nvSpPr>
          <p:cNvPr id="12" name="Text Placeholder 11">
            <a:extLst>
              <a:ext uri="{FF2B5EF4-FFF2-40B4-BE49-F238E27FC236}">
                <a16:creationId xmlns:a16="http://schemas.microsoft.com/office/drawing/2014/main" id="{28D7EFAF-A949-3F40-B6CE-D7D12634BD3D}"/>
              </a:ext>
            </a:extLst>
          </p:cNvPr>
          <p:cNvSpPr>
            <a:spLocks noGrp="1"/>
          </p:cNvSpPr>
          <p:nvPr>
            <p:ph type="body" sz="quarter" idx="11" hasCustomPrompt="1"/>
          </p:nvPr>
        </p:nvSpPr>
        <p:spPr>
          <a:xfrm>
            <a:off x="527356" y="2132919"/>
            <a:ext cx="6002494" cy="1128514"/>
          </a:xfrm>
        </p:spPr>
        <p:txBody>
          <a:bodyPr wrap="square" lIns="0" tIns="0" rIns="0" bIns="0" anchor="b" anchorCtr="0">
            <a:spAutoFit/>
          </a:bodyPr>
          <a:lstStyle>
            <a:lvl1pPr marL="0" indent="0">
              <a:lnSpc>
                <a:spcPts val="4400"/>
              </a:lnSpc>
              <a:buNone/>
              <a:defRPr sz="4200" b="0" i="0" spc="-50" baseline="0">
                <a:gradFill>
                  <a:gsLst>
                    <a:gs pos="39000">
                      <a:srgbClr val="712360"/>
                    </a:gs>
                    <a:gs pos="51000">
                      <a:srgbClr val="963E08"/>
                    </a:gs>
                    <a:gs pos="63000">
                      <a:srgbClr val="712360"/>
                    </a:gs>
                  </a:gsLst>
                  <a:path path="circle">
                    <a:fillToRect l="100000" t="100000"/>
                  </a:path>
                </a:gradFill>
                <a:latin typeface="+mj-lt"/>
                <a:cs typeface="Segoe UI Semibold" panose="020B0502040204020203" pitchFamily="34" charset="0"/>
              </a:defRPr>
            </a:lvl1pPr>
          </a:lstStyle>
          <a:p>
            <a:pPr lvl="0"/>
            <a:r>
              <a:rPr lang="en-US"/>
              <a:t>Secure AI-Driven Productivity Bootcamp</a:t>
            </a:r>
          </a:p>
        </p:txBody>
      </p:sp>
      <p:pic>
        <p:nvPicPr>
          <p:cNvPr id="5" name="Picture 1">
            <a:extLst>
              <a:ext uri="{FF2B5EF4-FFF2-40B4-BE49-F238E27FC236}">
                <a16:creationId xmlns:a16="http://schemas.microsoft.com/office/drawing/2014/main" id="{8ECF730F-DA45-E656-902E-8D743973E8A8}"/>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bwMode="black">
          <a:xfrm>
            <a:off x="527356" y="532612"/>
            <a:ext cx="1065600" cy="228343"/>
          </a:xfrm>
          <a:prstGeom prst="rect">
            <a:avLst/>
          </a:prstGeom>
        </p:spPr>
      </p:pic>
      <p:sp>
        <p:nvSpPr>
          <p:cNvPr id="7" name="Text Placeholder 6">
            <a:extLst>
              <a:ext uri="{FF2B5EF4-FFF2-40B4-BE49-F238E27FC236}">
                <a16:creationId xmlns:a16="http://schemas.microsoft.com/office/drawing/2014/main" id="{964F4844-97A6-4080-5544-13E46E7F4830}"/>
              </a:ext>
            </a:extLst>
          </p:cNvPr>
          <p:cNvSpPr>
            <a:spLocks noGrp="1"/>
          </p:cNvSpPr>
          <p:nvPr>
            <p:ph type="body" sz="quarter" idx="12" hasCustomPrompt="1"/>
          </p:nvPr>
        </p:nvSpPr>
        <p:spPr>
          <a:xfrm>
            <a:off x="527356" y="3701143"/>
            <a:ext cx="4018471" cy="839921"/>
          </a:xfrm>
          <a:prstGeom prst="rect">
            <a:avLst/>
          </a:prstGeom>
          <a:noFill/>
          <a:ln w="12700">
            <a:noFill/>
          </a:ln>
        </p:spPr>
        <p:txBody>
          <a:bodyPr lIns="0" tIns="0" rIns="0" bIns="0" anchor="ctr"/>
          <a:lstStyle>
            <a:lvl1pPr marL="0" indent="0" algn="l">
              <a:spcBef>
                <a:spcPts val="0"/>
              </a:spcBef>
              <a:buNone/>
              <a:defRPr sz="1800">
                <a:gradFill>
                  <a:gsLst>
                    <a:gs pos="39000">
                      <a:srgbClr val="712360"/>
                    </a:gs>
                    <a:gs pos="51000">
                      <a:srgbClr val="963E08"/>
                    </a:gs>
                    <a:gs pos="63000">
                      <a:srgbClr val="712360"/>
                    </a:gs>
                  </a:gsLst>
                  <a:path path="circle">
                    <a:fillToRect l="100000" t="100000"/>
                  </a:path>
                </a:gradFill>
                <a:latin typeface="+mj-lt"/>
              </a:defRPr>
            </a:lvl1pPr>
          </a:lstStyle>
          <a:p>
            <a:pPr lvl="0"/>
            <a:r>
              <a:rPr lang="en-GB"/>
              <a:t>Speaker 1</a:t>
            </a:r>
          </a:p>
          <a:p>
            <a:pPr lvl="0"/>
            <a:r>
              <a:rPr lang="en-GB"/>
              <a:t>Title 1</a:t>
            </a:r>
            <a:endParaRPr lang="en-US"/>
          </a:p>
        </p:txBody>
      </p:sp>
    </p:spTree>
    <p:extLst>
      <p:ext uri="{BB962C8B-B14F-4D97-AF65-F5344CB8AC3E}">
        <p14:creationId xmlns:p14="http://schemas.microsoft.com/office/powerpoint/2010/main" val="7334835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over – B">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descr="A close-up of a computer screen&#10;&#10;AI-generated content may be incorrect.">
            <a:extLst>
              <a:ext uri="{FF2B5EF4-FFF2-40B4-BE49-F238E27FC236}">
                <a16:creationId xmlns:a16="http://schemas.microsoft.com/office/drawing/2014/main" id="{866A7BFF-99CD-9437-E86E-6132FB309B1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48929" y="251769"/>
            <a:ext cx="9943071" cy="6435726"/>
          </a:xfrm>
          <a:prstGeom prst="rect">
            <a:avLst/>
          </a:prstGeom>
        </p:spPr>
      </p:pic>
      <p:sp>
        <p:nvSpPr>
          <p:cNvPr id="12" name="Text Placeholder 11">
            <a:extLst>
              <a:ext uri="{FF2B5EF4-FFF2-40B4-BE49-F238E27FC236}">
                <a16:creationId xmlns:a16="http://schemas.microsoft.com/office/drawing/2014/main" id="{28D7EFAF-A949-3F40-B6CE-D7D12634BD3D}"/>
              </a:ext>
            </a:extLst>
          </p:cNvPr>
          <p:cNvSpPr>
            <a:spLocks noGrp="1"/>
          </p:cNvSpPr>
          <p:nvPr>
            <p:ph type="body" sz="quarter" idx="11" hasCustomPrompt="1"/>
          </p:nvPr>
        </p:nvSpPr>
        <p:spPr>
          <a:xfrm>
            <a:off x="527356" y="2291473"/>
            <a:ext cx="4018471" cy="1692771"/>
          </a:xfrm>
        </p:spPr>
        <p:txBody>
          <a:bodyPr wrap="square" lIns="0" tIns="0" rIns="0" bIns="0" anchor="b" anchorCtr="0">
            <a:spAutoFit/>
          </a:bodyPr>
          <a:lstStyle>
            <a:lvl1pPr marL="0" indent="0">
              <a:lnSpc>
                <a:spcPts val="4400"/>
              </a:lnSpc>
              <a:buNone/>
              <a:defRPr lang="en-US" sz="4200" b="0" i="0" kern="1200" spc="-50" baseline="0" dirty="0">
                <a:gradFill>
                  <a:gsLst>
                    <a:gs pos="39000">
                      <a:srgbClr val="712360"/>
                    </a:gs>
                    <a:gs pos="51000">
                      <a:srgbClr val="963E08"/>
                    </a:gs>
                    <a:gs pos="63000">
                      <a:srgbClr val="712360"/>
                    </a:gs>
                  </a:gsLst>
                  <a:path path="circle">
                    <a:fillToRect l="100000" t="100000"/>
                  </a:path>
                </a:gradFill>
                <a:latin typeface="+mj-lt"/>
                <a:ea typeface="+mn-ea"/>
                <a:cs typeface="Segoe UI Semibold" panose="020B0502040204020203" pitchFamily="34" charset="0"/>
              </a:defRPr>
            </a:lvl1pPr>
          </a:lstStyle>
          <a:p>
            <a:pPr marL="0" lvl="0" indent="0" algn="l" defTabSz="914400" rtl="0" eaLnBrk="1" latinLnBrk="0" hangingPunct="1">
              <a:lnSpc>
                <a:spcPts val="4400"/>
              </a:lnSpc>
              <a:spcBef>
                <a:spcPts val="1000"/>
              </a:spcBef>
              <a:buFont typeface="Arial" panose="020B0604020202020204" pitchFamily="34" charset="0"/>
              <a:buNone/>
            </a:pPr>
            <a:r>
              <a:rPr lang="en-US"/>
              <a:t>Secure AI-Driven Productivity Bootcamp</a:t>
            </a:r>
          </a:p>
        </p:txBody>
      </p:sp>
      <p:pic>
        <p:nvPicPr>
          <p:cNvPr id="5" name="Picture 1">
            <a:extLst>
              <a:ext uri="{FF2B5EF4-FFF2-40B4-BE49-F238E27FC236}">
                <a16:creationId xmlns:a16="http://schemas.microsoft.com/office/drawing/2014/main" id="{8ECF730F-DA45-E656-902E-8D743973E8A8}"/>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bwMode="black">
          <a:xfrm>
            <a:off x="527356" y="532612"/>
            <a:ext cx="1065600" cy="228343"/>
          </a:xfrm>
          <a:prstGeom prst="rect">
            <a:avLst/>
          </a:prstGeom>
        </p:spPr>
      </p:pic>
      <p:sp>
        <p:nvSpPr>
          <p:cNvPr id="7" name="Text Placeholder 6">
            <a:extLst>
              <a:ext uri="{FF2B5EF4-FFF2-40B4-BE49-F238E27FC236}">
                <a16:creationId xmlns:a16="http://schemas.microsoft.com/office/drawing/2014/main" id="{964F4844-97A6-4080-5544-13E46E7F4830}"/>
              </a:ext>
            </a:extLst>
          </p:cNvPr>
          <p:cNvSpPr>
            <a:spLocks noGrp="1"/>
          </p:cNvSpPr>
          <p:nvPr>
            <p:ph type="body" sz="quarter" idx="12" hasCustomPrompt="1"/>
          </p:nvPr>
        </p:nvSpPr>
        <p:spPr>
          <a:xfrm>
            <a:off x="527356" y="4362403"/>
            <a:ext cx="4018471" cy="276999"/>
          </a:xfrm>
          <a:prstGeom prst="rect">
            <a:avLst/>
          </a:prstGeom>
          <a:noFill/>
          <a:ln w="12700">
            <a:noFill/>
          </a:ln>
        </p:spPr>
        <p:txBody>
          <a:bodyPr lIns="0" tIns="0" rIns="0" bIns="0" anchor="ctr"/>
          <a:lstStyle>
            <a:lvl1pPr marL="0" indent="0" algn="l">
              <a:buNone/>
              <a:defRPr lang="en-US" sz="1800" kern="1200" dirty="0">
                <a:gradFill>
                  <a:gsLst>
                    <a:gs pos="39000">
                      <a:srgbClr val="712360"/>
                    </a:gs>
                    <a:gs pos="51000">
                      <a:srgbClr val="963E08"/>
                    </a:gs>
                    <a:gs pos="63000">
                      <a:srgbClr val="712360"/>
                    </a:gs>
                  </a:gsLst>
                  <a:path path="circle">
                    <a:fillToRect l="100000" t="100000"/>
                  </a:path>
                </a:gradFill>
                <a:latin typeface="+mj-lt"/>
                <a:ea typeface="+mn-ea"/>
                <a:cs typeface="+mn-cs"/>
              </a:defRPr>
            </a:lvl1pPr>
          </a:lstStyle>
          <a:p>
            <a:pPr marL="0" lvl="0" indent="0" algn="l" defTabSz="914400" rtl="0" eaLnBrk="1" latinLnBrk="0" hangingPunct="1">
              <a:lnSpc>
                <a:spcPct val="90000"/>
              </a:lnSpc>
              <a:spcBef>
                <a:spcPts val="0"/>
              </a:spcBef>
              <a:buFont typeface="Arial" panose="020B0604020202020204" pitchFamily="34" charset="0"/>
              <a:buNone/>
            </a:pPr>
            <a:r>
              <a:rPr lang="en-GB"/>
              <a:t>Date</a:t>
            </a:r>
            <a:endParaRPr lang="en-US"/>
          </a:p>
        </p:txBody>
      </p:sp>
    </p:spTree>
    <p:extLst>
      <p:ext uri="{BB962C8B-B14F-4D97-AF65-F5344CB8AC3E}">
        <p14:creationId xmlns:p14="http://schemas.microsoft.com/office/powerpoint/2010/main" val="4951621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541074"/>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ver – B">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descr="A close-up of a computer screen&#10;&#10;AI-generated content may be incorrect.">
            <a:extLst>
              <a:ext uri="{FF2B5EF4-FFF2-40B4-BE49-F238E27FC236}">
                <a16:creationId xmlns:a16="http://schemas.microsoft.com/office/drawing/2014/main" id="{866A7BFF-99CD-9437-E86E-6132FB309B1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48929" y="251769"/>
            <a:ext cx="9943071" cy="6435726"/>
          </a:xfrm>
          <a:prstGeom prst="rect">
            <a:avLst/>
          </a:prstGeom>
        </p:spPr>
      </p:pic>
      <p:sp>
        <p:nvSpPr>
          <p:cNvPr id="12" name="Text Placeholder 11">
            <a:extLst>
              <a:ext uri="{FF2B5EF4-FFF2-40B4-BE49-F238E27FC236}">
                <a16:creationId xmlns:a16="http://schemas.microsoft.com/office/drawing/2014/main" id="{28D7EFAF-A949-3F40-B6CE-D7D12634BD3D}"/>
              </a:ext>
            </a:extLst>
          </p:cNvPr>
          <p:cNvSpPr>
            <a:spLocks noGrp="1"/>
          </p:cNvSpPr>
          <p:nvPr>
            <p:ph type="body" sz="quarter" idx="11" hasCustomPrompt="1"/>
          </p:nvPr>
        </p:nvSpPr>
        <p:spPr>
          <a:xfrm>
            <a:off x="527356" y="2132919"/>
            <a:ext cx="6002494" cy="1128514"/>
          </a:xfrm>
        </p:spPr>
        <p:txBody>
          <a:bodyPr wrap="square" lIns="0" tIns="0" rIns="0" bIns="0" anchor="b" anchorCtr="0">
            <a:spAutoFit/>
          </a:bodyPr>
          <a:lstStyle>
            <a:lvl1pPr marL="0" indent="0">
              <a:lnSpc>
                <a:spcPts val="4400"/>
              </a:lnSpc>
              <a:buNone/>
              <a:defRPr sz="4200" b="0" i="0" spc="-50" baseline="0">
                <a:gradFill>
                  <a:gsLst>
                    <a:gs pos="39000">
                      <a:srgbClr val="712360"/>
                    </a:gs>
                    <a:gs pos="51000">
                      <a:srgbClr val="963E08"/>
                    </a:gs>
                    <a:gs pos="63000">
                      <a:srgbClr val="712360"/>
                    </a:gs>
                  </a:gsLst>
                  <a:path path="circle">
                    <a:fillToRect l="100000" t="100000"/>
                  </a:path>
                </a:gradFill>
                <a:latin typeface="+mj-lt"/>
                <a:cs typeface="Segoe UI Semibold" panose="020B0502040204020203" pitchFamily="34" charset="0"/>
              </a:defRPr>
            </a:lvl1pPr>
          </a:lstStyle>
          <a:p>
            <a:pPr lvl="0"/>
            <a:r>
              <a:rPr lang="en-US"/>
              <a:t>Secure AI-Driven Productivity Bootcamp</a:t>
            </a:r>
          </a:p>
        </p:txBody>
      </p:sp>
      <p:pic>
        <p:nvPicPr>
          <p:cNvPr id="5" name="Picture 1">
            <a:extLst>
              <a:ext uri="{FF2B5EF4-FFF2-40B4-BE49-F238E27FC236}">
                <a16:creationId xmlns:a16="http://schemas.microsoft.com/office/drawing/2014/main" id="{8ECF730F-DA45-E656-902E-8D743973E8A8}"/>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bwMode="black">
          <a:xfrm>
            <a:off x="527356" y="532612"/>
            <a:ext cx="1065600" cy="228343"/>
          </a:xfrm>
          <a:prstGeom prst="rect">
            <a:avLst/>
          </a:prstGeom>
        </p:spPr>
      </p:pic>
      <p:sp>
        <p:nvSpPr>
          <p:cNvPr id="7" name="Text Placeholder 6">
            <a:extLst>
              <a:ext uri="{FF2B5EF4-FFF2-40B4-BE49-F238E27FC236}">
                <a16:creationId xmlns:a16="http://schemas.microsoft.com/office/drawing/2014/main" id="{964F4844-97A6-4080-5544-13E46E7F4830}"/>
              </a:ext>
            </a:extLst>
          </p:cNvPr>
          <p:cNvSpPr>
            <a:spLocks noGrp="1"/>
          </p:cNvSpPr>
          <p:nvPr>
            <p:ph type="body" sz="quarter" idx="12" hasCustomPrompt="1"/>
          </p:nvPr>
        </p:nvSpPr>
        <p:spPr>
          <a:xfrm>
            <a:off x="527356" y="3701143"/>
            <a:ext cx="4018471" cy="839921"/>
          </a:xfrm>
          <a:prstGeom prst="rect">
            <a:avLst/>
          </a:prstGeom>
          <a:noFill/>
          <a:ln w="12700">
            <a:noFill/>
          </a:ln>
        </p:spPr>
        <p:txBody>
          <a:bodyPr lIns="0" tIns="0" rIns="0" bIns="0" anchor="ctr"/>
          <a:lstStyle>
            <a:lvl1pPr marL="0" indent="0" algn="l">
              <a:spcBef>
                <a:spcPts val="0"/>
              </a:spcBef>
              <a:buNone/>
              <a:defRPr sz="1800">
                <a:gradFill>
                  <a:gsLst>
                    <a:gs pos="39000">
                      <a:srgbClr val="712360"/>
                    </a:gs>
                    <a:gs pos="51000">
                      <a:srgbClr val="963E08"/>
                    </a:gs>
                    <a:gs pos="63000">
                      <a:srgbClr val="712360"/>
                    </a:gs>
                  </a:gsLst>
                  <a:path path="circle">
                    <a:fillToRect l="100000" t="100000"/>
                  </a:path>
                </a:gradFill>
                <a:latin typeface="+mj-lt"/>
              </a:defRPr>
            </a:lvl1pPr>
          </a:lstStyle>
          <a:p>
            <a:pPr lvl="0"/>
            <a:r>
              <a:rPr lang="en-GB"/>
              <a:t>Speaker 1</a:t>
            </a:r>
          </a:p>
          <a:p>
            <a:pPr lvl="0"/>
            <a:r>
              <a:rPr lang="en-GB"/>
              <a:t>Title 1</a:t>
            </a:r>
            <a:endParaRPr lang="en-US"/>
          </a:p>
        </p:txBody>
      </p:sp>
    </p:spTree>
    <p:extLst>
      <p:ext uri="{BB962C8B-B14F-4D97-AF65-F5344CB8AC3E}">
        <p14:creationId xmlns:p14="http://schemas.microsoft.com/office/powerpoint/2010/main" val="33815954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ver – B">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descr="A close-up of a computer screen&#10;&#10;AI-generated content may be incorrect.">
            <a:extLst>
              <a:ext uri="{FF2B5EF4-FFF2-40B4-BE49-F238E27FC236}">
                <a16:creationId xmlns:a16="http://schemas.microsoft.com/office/drawing/2014/main" id="{866A7BFF-99CD-9437-E86E-6132FB309B1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48929" y="251769"/>
            <a:ext cx="9943071" cy="6435726"/>
          </a:xfrm>
          <a:prstGeom prst="rect">
            <a:avLst/>
          </a:prstGeom>
        </p:spPr>
      </p:pic>
      <p:sp>
        <p:nvSpPr>
          <p:cNvPr id="12" name="Text Placeholder 11">
            <a:extLst>
              <a:ext uri="{FF2B5EF4-FFF2-40B4-BE49-F238E27FC236}">
                <a16:creationId xmlns:a16="http://schemas.microsoft.com/office/drawing/2014/main" id="{28D7EFAF-A949-3F40-B6CE-D7D12634BD3D}"/>
              </a:ext>
            </a:extLst>
          </p:cNvPr>
          <p:cNvSpPr>
            <a:spLocks noGrp="1"/>
          </p:cNvSpPr>
          <p:nvPr>
            <p:ph type="body" sz="quarter" idx="11" hasCustomPrompt="1"/>
          </p:nvPr>
        </p:nvSpPr>
        <p:spPr>
          <a:xfrm>
            <a:off x="527356" y="2291473"/>
            <a:ext cx="4018471" cy="1692771"/>
          </a:xfrm>
        </p:spPr>
        <p:txBody>
          <a:bodyPr wrap="square" lIns="0" tIns="0" rIns="0" bIns="0" anchor="b" anchorCtr="0">
            <a:spAutoFit/>
          </a:bodyPr>
          <a:lstStyle>
            <a:lvl1pPr marL="0" indent="0">
              <a:lnSpc>
                <a:spcPts val="4400"/>
              </a:lnSpc>
              <a:buNone/>
              <a:defRPr lang="en-US" sz="4200" b="0" i="0" kern="1200" spc="-50" baseline="0" dirty="0">
                <a:gradFill>
                  <a:gsLst>
                    <a:gs pos="39000">
                      <a:srgbClr val="712360"/>
                    </a:gs>
                    <a:gs pos="51000">
                      <a:srgbClr val="963E08"/>
                    </a:gs>
                    <a:gs pos="63000">
                      <a:srgbClr val="712360"/>
                    </a:gs>
                  </a:gsLst>
                  <a:path path="circle">
                    <a:fillToRect l="100000" t="100000"/>
                  </a:path>
                </a:gradFill>
                <a:latin typeface="+mj-lt"/>
                <a:ea typeface="+mn-ea"/>
                <a:cs typeface="Segoe UI Semibold" panose="020B0502040204020203" pitchFamily="34" charset="0"/>
              </a:defRPr>
            </a:lvl1pPr>
          </a:lstStyle>
          <a:p>
            <a:pPr marL="0" lvl="0" indent="0" algn="l" defTabSz="914400" rtl="0" eaLnBrk="1" latinLnBrk="0" hangingPunct="1">
              <a:lnSpc>
                <a:spcPts val="4400"/>
              </a:lnSpc>
              <a:spcBef>
                <a:spcPts val="1000"/>
              </a:spcBef>
              <a:buFont typeface="Arial" panose="020B0604020202020204" pitchFamily="34" charset="0"/>
              <a:buNone/>
            </a:pPr>
            <a:r>
              <a:rPr lang="en-US"/>
              <a:t>Secure AI-Driven Productivity Bootcamp</a:t>
            </a:r>
          </a:p>
        </p:txBody>
      </p:sp>
      <p:pic>
        <p:nvPicPr>
          <p:cNvPr id="5" name="Picture 1">
            <a:extLst>
              <a:ext uri="{FF2B5EF4-FFF2-40B4-BE49-F238E27FC236}">
                <a16:creationId xmlns:a16="http://schemas.microsoft.com/office/drawing/2014/main" id="{8ECF730F-DA45-E656-902E-8D743973E8A8}"/>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bwMode="black">
          <a:xfrm>
            <a:off x="527356" y="532612"/>
            <a:ext cx="1065600" cy="228343"/>
          </a:xfrm>
          <a:prstGeom prst="rect">
            <a:avLst/>
          </a:prstGeom>
        </p:spPr>
      </p:pic>
      <p:sp>
        <p:nvSpPr>
          <p:cNvPr id="7" name="Text Placeholder 6">
            <a:extLst>
              <a:ext uri="{FF2B5EF4-FFF2-40B4-BE49-F238E27FC236}">
                <a16:creationId xmlns:a16="http://schemas.microsoft.com/office/drawing/2014/main" id="{964F4844-97A6-4080-5544-13E46E7F4830}"/>
              </a:ext>
            </a:extLst>
          </p:cNvPr>
          <p:cNvSpPr>
            <a:spLocks noGrp="1"/>
          </p:cNvSpPr>
          <p:nvPr>
            <p:ph type="body" sz="quarter" idx="12" hasCustomPrompt="1"/>
          </p:nvPr>
        </p:nvSpPr>
        <p:spPr>
          <a:xfrm>
            <a:off x="527356" y="4362403"/>
            <a:ext cx="4018471" cy="276999"/>
          </a:xfrm>
          <a:prstGeom prst="rect">
            <a:avLst/>
          </a:prstGeom>
          <a:noFill/>
          <a:ln w="12700">
            <a:noFill/>
          </a:ln>
        </p:spPr>
        <p:txBody>
          <a:bodyPr lIns="0" tIns="0" rIns="0" bIns="0" anchor="ctr"/>
          <a:lstStyle>
            <a:lvl1pPr marL="0" indent="0" algn="l">
              <a:buNone/>
              <a:defRPr lang="en-US" sz="1800" kern="1200" dirty="0">
                <a:gradFill>
                  <a:gsLst>
                    <a:gs pos="39000">
                      <a:srgbClr val="712360"/>
                    </a:gs>
                    <a:gs pos="51000">
                      <a:srgbClr val="963E08"/>
                    </a:gs>
                    <a:gs pos="63000">
                      <a:srgbClr val="712360"/>
                    </a:gs>
                  </a:gsLst>
                  <a:path path="circle">
                    <a:fillToRect l="100000" t="100000"/>
                  </a:path>
                </a:gradFill>
                <a:latin typeface="+mj-lt"/>
                <a:ea typeface="+mn-ea"/>
                <a:cs typeface="+mn-cs"/>
              </a:defRPr>
            </a:lvl1pPr>
          </a:lstStyle>
          <a:p>
            <a:pPr marL="0" lvl="0" indent="0" algn="l" defTabSz="914400" rtl="0" eaLnBrk="1" latinLnBrk="0" hangingPunct="1">
              <a:lnSpc>
                <a:spcPct val="90000"/>
              </a:lnSpc>
              <a:spcBef>
                <a:spcPts val="0"/>
              </a:spcBef>
              <a:buFont typeface="Arial" panose="020B0604020202020204" pitchFamily="34" charset="0"/>
              <a:buNone/>
            </a:pPr>
            <a:r>
              <a:rPr lang="en-GB"/>
              <a:t>Date</a:t>
            </a:r>
            <a:endParaRPr lang="en-US"/>
          </a:p>
        </p:txBody>
      </p:sp>
    </p:spTree>
    <p:extLst>
      <p:ext uri="{BB962C8B-B14F-4D97-AF65-F5344CB8AC3E}">
        <p14:creationId xmlns:p14="http://schemas.microsoft.com/office/powerpoint/2010/main" val="18475675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11628" y="574386"/>
            <a:ext cx="11185072" cy="498598"/>
          </a:xfrm>
        </p:spPr>
        <p:txBody>
          <a:bodyPr wrap="square" lIns="0" tIns="0" rIns="0" bIns="0" anchor="t">
            <a:spAutoFit/>
          </a:bodyPr>
          <a:lstStyle>
            <a:lvl1pPr>
              <a:defRPr sz="3600" b="0">
                <a:latin typeface="+mj-lt"/>
              </a:defRPr>
            </a:lvl1pPr>
          </a:lstStyle>
          <a:p>
            <a:r>
              <a:rPr lang="en-US"/>
              <a:t>Click to edit Master title style</a:t>
            </a:r>
          </a:p>
        </p:txBody>
      </p:sp>
    </p:spTree>
    <p:extLst>
      <p:ext uri="{BB962C8B-B14F-4D97-AF65-F5344CB8AC3E}">
        <p14:creationId xmlns:p14="http://schemas.microsoft.com/office/powerpoint/2010/main" val="4097196588"/>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0946106"/>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svg"/><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sv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3.xml"/><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E70860-B881-5122-E137-8711CB0D6B02}"/>
              </a:ext>
            </a:extLst>
          </p:cNvPr>
          <p:cNvSpPr>
            <a:spLocks noGrp="1"/>
          </p:cNvSpPr>
          <p:nvPr>
            <p:ph type="title"/>
          </p:nvPr>
        </p:nvSpPr>
        <p:spPr>
          <a:xfrm>
            <a:off x="511175" y="574675"/>
            <a:ext cx="11185525" cy="609398"/>
          </a:xfrm>
          <a:prstGeom prst="rect">
            <a:avLst/>
          </a:prstGeom>
        </p:spPr>
        <p:txBody>
          <a:bodyPr vert="horz"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E606F1A1-1586-42EF-9CA2-16F10CD83DF7}"/>
              </a:ext>
            </a:extLst>
          </p:cNvPr>
          <p:cNvSpPr>
            <a:spLocks noGrp="1"/>
          </p:cNvSpPr>
          <p:nvPr>
            <p:ph type="body" idx="1"/>
          </p:nvPr>
        </p:nvSpPr>
        <p:spPr>
          <a:xfrm>
            <a:off x="511175" y="1698625"/>
            <a:ext cx="111855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253CED-08D6-692F-198E-233A1D7E915D}"/>
              </a:ext>
            </a:extLst>
          </p:cNvPr>
          <p:cNvSpPr>
            <a:spLocks noGrp="1"/>
          </p:cNvSpPr>
          <p:nvPr>
            <p:ph type="dt" sz="half" idx="2"/>
          </p:nvPr>
        </p:nvSpPr>
        <p:spPr>
          <a:xfrm>
            <a:off x="511175" y="6229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2E2A91-B98C-49DE-8553-119ECA58152C}" type="datetimeFigureOut">
              <a:rPr lang="en-US" smtClean="0"/>
              <a:t>5/29/2026</a:t>
            </a:fld>
            <a:endParaRPr lang="en-US"/>
          </a:p>
        </p:txBody>
      </p:sp>
      <p:sp>
        <p:nvSpPr>
          <p:cNvPr id="5" name="Footer Placeholder 4">
            <a:extLst>
              <a:ext uri="{FF2B5EF4-FFF2-40B4-BE49-F238E27FC236}">
                <a16:creationId xmlns:a16="http://schemas.microsoft.com/office/drawing/2014/main" id="{1110BB91-0DF2-F86D-A282-C050CAF65527}"/>
              </a:ext>
            </a:extLst>
          </p:cNvPr>
          <p:cNvSpPr>
            <a:spLocks noGrp="1"/>
          </p:cNvSpPr>
          <p:nvPr>
            <p:ph type="ftr" sz="quarter" idx="3"/>
          </p:nvPr>
        </p:nvSpPr>
        <p:spPr>
          <a:xfrm>
            <a:off x="4038600" y="6229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8227534-F4D4-095D-03EE-12A9688346D0}"/>
              </a:ext>
            </a:extLst>
          </p:cNvPr>
          <p:cNvSpPr>
            <a:spLocks noGrp="1"/>
          </p:cNvSpPr>
          <p:nvPr>
            <p:ph type="sldNum" sz="quarter" idx="4"/>
          </p:nvPr>
        </p:nvSpPr>
        <p:spPr>
          <a:xfrm>
            <a:off x="8953500" y="6229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7CA0B0-04EF-433A-8113-67BC344D39D3}" type="slidenum">
              <a:rPr lang="en-US" smtClean="0"/>
              <a:t>‹#›</a:t>
            </a:fld>
            <a:endParaRPr lang="en-US"/>
          </a:p>
        </p:txBody>
      </p:sp>
      <p:pic>
        <p:nvPicPr>
          <p:cNvPr id="7" name="Graphic 6">
            <a:extLst>
              <a:ext uri="{FF2B5EF4-FFF2-40B4-BE49-F238E27FC236}">
                <a16:creationId xmlns:a16="http://schemas.microsoft.com/office/drawing/2014/main" id="{3BAC4348-B8BB-E69B-E197-7B5B8B4EF1F3}"/>
              </a:ext>
            </a:extLst>
          </p:cNvPr>
          <p:cNvPicPr>
            <a:picLocks noChangeAspect="1"/>
          </p:cNvPicPr>
          <p:nvPr userDrawn="1"/>
        </p:nvPicPr>
        <p:blipFill>
          <a:blip>
            <a:extLst>
              <a:ext uri="{96DAC541-7B7A-43D3-8B79-37D633B846F1}">
                <asvg:svgBlip xmlns:asvg="http://schemas.microsoft.com/office/drawing/2016/SVG/main" r:embed="rId6"/>
              </a:ext>
            </a:extLst>
          </a:blip>
          <a:srcRect/>
          <a:stretch/>
        </p:blipFill>
        <p:spPr>
          <a:xfrm rot="5400000">
            <a:off x="10097704" y="2163762"/>
            <a:ext cx="5409405" cy="1081881"/>
          </a:xfrm>
          <a:prstGeom prst="rect">
            <a:avLst/>
          </a:prstGeom>
        </p:spPr>
      </p:pic>
    </p:spTree>
    <p:custDataLst>
      <p:tags r:id="rId5"/>
    </p:custDataLst>
    <p:extLst>
      <p:ext uri="{BB962C8B-B14F-4D97-AF65-F5344CB8AC3E}">
        <p14:creationId xmlns:p14="http://schemas.microsoft.com/office/powerpoint/2010/main" val="4075378675"/>
      </p:ext>
    </p:extLst>
  </p:cSld>
  <p:clrMap bg1="lt1" tx1="dk1" bg2="lt2" tx2="dk2" accent1="accent1" accent2="accent2" accent3="accent3" accent4="accent4" accent5="accent5" accent6="accent6" hlink="hlink" folHlink="folHlink"/>
  <p:sldLayoutIdLst>
    <p:sldLayoutId id="2147485115" r:id="rId1"/>
    <p:sldLayoutId id="2147485116" r:id="rId2"/>
    <p:sldLayoutId id="2147485118"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12">
          <p15:clr>
            <a:srgbClr val="F26B43"/>
          </p15:clr>
        </p15:guide>
        <p15:guide id="3" pos="7368">
          <p15:clr>
            <a:srgbClr val="F26B43"/>
          </p15:clr>
        </p15:guide>
        <p15:guide id="4" orient="horz" pos="2160">
          <p15:clr>
            <a:srgbClr val="F26B43"/>
          </p15:clr>
        </p15:guide>
        <p15:guide id="5" orient="horz" pos="432">
          <p15:clr>
            <a:srgbClr val="F26B43"/>
          </p15:clr>
        </p15:guide>
        <p15:guide id="6" orient="horz" pos="39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E70860-B881-5122-E137-8711CB0D6B02}"/>
              </a:ext>
            </a:extLst>
          </p:cNvPr>
          <p:cNvSpPr>
            <a:spLocks noGrp="1"/>
          </p:cNvSpPr>
          <p:nvPr>
            <p:ph type="title"/>
          </p:nvPr>
        </p:nvSpPr>
        <p:spPr>
          <a:xfrm>
            <a:off x="511175" y="574675"/>
            <a:ext cx="11185525" cy="609398"/>
          </a:xfrm>
          <a:prstGeom prst="rect">
            <a:avLst/>
          </a:prstGeom>
        </p:spPr>
        <p:txBody>
          <a:bodyPr vert="horz"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E606F1A1-1586-42EF-9CA2-16F10CD83DF7}"/>
              </a:ext>
            </a:extLst>
          </p:cNvPr>
          <p:cNvSpPr>
            <a:spLocks noGrp="1"/>
          </p:cNvSpPr>
          <p:nvPr>
            <p:ph type="body" idx="1"/>
          </p:nvPr>
        </p:nvSpPr>
        <p:spPr>
          <a:xfrm>
            <a:off x="511175" y="1698625"/>
            <a:ext cx="111855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253CED-08D6-692F-198E-233A1D7E915D}"/>
              </a:ext>
            </a:extLst>
          </p:cNvPr>
          <p:cNvSpPr>
            <a:spLocks noGrp="1"/>
          </p:cNvSpPr>
          <p:nvPr>
            <p:ph type="dt" sz="half" idx="2"/>
          </p:nvPr>
        </p:nvSpPr>
        <p:spPr>
          <a:xfrm>
            <a:off x="511175" y="6229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2E2A91-B98C-49DE-8553-119ECA58152C}" type="datetimeFigureOut">
              <a:rPr lang="en-US" smtClean="0"/>
              <a:t>5/29/2026</a:t>
            </a:fld>
            <a:endParaRPr lang="en-US"/>
          </a:p>
        </p:txBody>
      </p:sp>
      <p:sp>
        <p:nvSpPr>
          <p:cNvPr id="5" name="Footer Placeholder 4">
            <a:extLst>
              <a:ext uri="{FF2B5EF4-FFF2-40B4-BE49-F238E27FC236}">
                <a16:creationId xmlns:a16="http://schemas.microsoft.com/office/drawing/2014/main" id="{1110BB91-0DF2-F86D-A282-C050CAF65527}"/>
              </a:ext>
            </a:extLst>
          </p:cNvPr>
          <p:cNvSpPr>
            <a:spLocks noGrp="1"/>
          </p:cNvSpPr>
          <p:nvPr>
            <p:ph type="ftr" sz="quarter" idx="3"/>
          </p:nvPr>
        </p:nvSpPr>
        <p:spPr>
          <a:xfrm>
            <a:off x="4038600" y="6229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8227534-F4D4-095D-03EE-12A9688346D0}"/>
              </a:ext>
            </a:extLst>
          </p:cNvPr>
          <p:cNvSpPr>
            <a:spLocks noGrp="1"/>
          </p:cNvSpPr>
          <p:nvPr>
            <p:ph type="sldNum" sz="quarter" idx="4"/>
          </p:nvPr>
        </p:nvSpPr>
        <p:spPr>
          <a:xfrm>
            <a:off x="8953500" y="6229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7CA0B0-04EF-433A-8113-67BC344D39D3}" type="slidenum">
              <a:rPr lang="en-US" smtClean="0"/>
              <a:t>‹#›</a:t>
            </a:fld>
            <a:endParaRPr lang="en-US"/>
          </a:p>
        </p:txBody>
      </p:sp>
      <p:pic>
        <p:nvPicPr>
          <p:cNvPr id="7" name="Graphic 6">
            <a:extLst>
              <a:ext uri="{FF2B5EF4-FFF2-40B4-BE49-F238E27FC236}">
                <a16:creationId xmlns:a16="http://schemas.microsoft.com/office/drawing/2014/main" id="{3BAC4348-B8BB-E69B-E197-7B5B8B4EF1F3}"/>
              </a:ext>
            </a:extLst>
          </p:cNvPr>
          <p:cNvPicPr>
            <a:picLocks noChangeAspect="1"/>
          </p:cNvPicPr>
          <p:nvPr userDrawn="1"/>
        </p:nvPicPr>
        <p:blipFill>
          <a:blip>
            <a:extLst>
              <a:ext uri="{96DAC541-7B7A-43D3-8B79-37D633B846F1}">
                <asvg:svgBlip xmlns:asvg="http://schemas.microsoft.com/office/drawing/2016/SVG/main" r:embed="rId7"/>
              </a:ext>
            </a:extLst>
          </a:blip>
          <a:srcRect/>
          <a:stretch/>
        </p:blipFill>
        <p:spPr>
          <a:xfrm rot="5400000">
            <a:off x="10097704" y="2163762"/>
            <a:ext cx="5409405" cy="1081881"/>
          </a:xfrm>
          <a:prstGeom prst="rect">
            <a:avLst/>
          </a:prstGeom>
        </p:spPr>
      </p:pic>
    </p:spTree>
    <p:custDataLst>
      <p:tags r:id="rId6"/>
    </p:custDataLst>
    <p:extLst>
      <p:ext uri="{BB962C8B-B14F-4D97-AF65-F5344CB8AC3E}">
        <p14:creationId xmlns:p14="http://schemas.microsoft.com/office/powerpoint/2010/main" val="2679154424"/>
      </p:ext>
    </p:extLst>
  </p:cSld>
  <p:clrMap bg1="lt1" tx1="dk1" bg2="lt2" tx2="dk2" accent1="accent1" accent2="accent2" accent3="accent3" accent4="accent4" accent5="accent5" accent6="accent6" hlink="hlink" folHlink="folHlink"/>
  <p:sldLayoutIdLst>
    <p:sldLayoutId id="2147485120" r:id="rId1"/>
    <p:sldLayoutId id="2147485121" r:id="rId2"/>
    <p:sldLayoutId id="2147485122" r:id="rId3"/>
    <p:sldLayoutId id="2147485123"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12">
          <p15:clr>
            <a:srgbClr val="F26B43"/>
          </p15:clr>
        </p15:guide>
        <p15:guide id="3" pos="7368">
          <p15:clr>
            <a:srgbClr val="F26B43"/>
          </p15:clr>
        </p15:guide>
        <p15:guide id="4" orient="horz" pos="2160">
          <p15:clr>
            <a:srgbClr val="F26B43"/>
          </p15:clr>
        </p15:guide>
        <p15:guide id="5" orient="horz" pos="432">
          <p15:clr>
            <a:srgbClr val="F26B43"/>
          </p15:clr>
        </p15:guide>
        <p15:guide id="6" orient="horz" pos="39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hemeOverride" Target="../theme/themeOverride1.xml"/><Relationship Id="rId5" Type="http://schemas.openxmlformats.org/officeDocument/2006/relationships/hyperlink" Target="https://forms.office.com/Pages/ResponsePage.aspx?id=v4j5cvGGr0GRqy180BHbR10NadL4eRdKpmNFvX5Ohp9UNEFVRlJQOEJFM1haWDExQUszQlU4UEpNNS4u" TargetMode="Externa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4C0BDE9-661F-E827-C3AF-F61BD8ADB97D}"/>
              </a:ext>
            </a:extLst>
          </p:cNvPr>
          <p:cNvSpPr>
            <a:spLocks noGrp="1"/>
          </p:cNvSpPr>
          <p:nvPr>
            <p:ph type="title" idx="4294967295"/>
          </p:nvPr>
        </p:nvSpPr>
        <p:spPr>
          <a:xfrm>
            <a:off x="527050" y="2290763"/>
            <a:ext cx="4019550" cy="16938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rtl="0" eaLnBrk="1" fontAlgn="auto" latinLnBrk="0" hangingPunct="1">
              <a:lnSpc>
                <a:spcPts val="4400"/>
              </a:lnSpc>
              <a:spcBef>
                <a:spcPts val="1000"/>
              </a:spcBef>
              <a:spcAft>
                <a:spcPts val="0"/>
              </a:spcAft>
              <a:buClrTx/>
              <a:buSzTx/>
              <a:buFont typeface="Arial" panose="020B0604020202020204" pitchFamily="34" charset="0"/>
              <a:buNone/>
              <a:tabLst/>
              <a:defRPr/>
            </a:pPr>
            <a:r>
              <a:rPr kumimoji="0" lang="en-US" sz="4200" b="0" i="0" u="none" strike="noStrike" kern="1200" cap="none" spc="-50" normalizeH="0" baseline="0" noProof="0">
                <a:ln>
                  <a:noFill/>
                </a:ln>
                <a:gradFill>
                  <a:gsLst>
                    <a:gs pos="39000">
                      <a:srgbClr val="712360"/>
                    </a:gs>
                    <a:gs pos="51000">
                      <a:srgbClr val="963E08"/>
                    </a:gs>
                    <a:gs pos="63000">
                      <a:srgbClr val="712360"/>
                    </a:gs>
                  </a:gsLst>
                  <a:path path="circle">
                    <a:fillToRect l="100000" t="100000"/>
                  </a:path>
                </a:gradFill>
                <a:effectLst/>
                <a:uLnTx/>
                <a:uFillTx/>
                <a:latin typeface="+mj-lt"/>
                <a:ea typeface="+mn-ea"/>
                <a:cs typeface="Segoe UI Semibold" panose="020B0502040204020203" pitchFamily="34" charset="0"/>
              </a:rPr>
              <a:t>Copilot Agent Hackathon</a:t>
            </a:r>
          </a:p>
        </p:txBody>
      </p:sp>
      <p:sp>
        <p:nvSpPr>
          <p:cNvPr id="15" name="Text Placeholder 14">
            <a:extLst>
              <a:ext uri="{FF2B5EF4-FFF2-40B4-BE49-F238E27FC236}">
                <a16:creationId xmlns:a16="http://schemas.microsoft.com/office/drawing/2014/main" id="{A7A163D2-67B4-2129-C322-F3FEFF4C830A}"/>
              </a:ext>
            </a:extLst>
          </p:cNvPr>
          <p:cNvSpPr>
            <a:spLocks noGrp="1"/>
          </p:cNvSpPr>
          <p:nvPr>
            <p:ph type="body" sz="quarter" idx="12"/>
          </p:nvPr>
        </p:nvSpPr>
        <p:spPr>
          <a:xfrm>
            <a:off x="527356" y="4362403"/>
            <a:ext cx="4018471" cy="276999"/>
          </a:xfrm>
        </p:spPr>
        <p:txBody>
          <a:bodyPr/>
          <a:lstStyle/>
          <a:p>
            <a:r>
              <a:rPr lang="en-US"/>
              <a:t>Event Resourcing</a:t>
            </a:r>
          </a:p>
        </p:txBody>
      </p:sp>
    </p:spTree>
    <p:extLst>
      <p:ext uri="{BB962C8B-B14F-4D97-AF65-F5344CB8AC3E}">
        <p14:creationId xmlns:p14="http://schemas.microsoft.com/office/powerpoint/2010/main" val="19777323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6A1210A8-A44A-871A-D6F4-2B785F89424F}"/>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8564811" y="0"/>
            <a:ext cx="3627189" cy="2380343"/>
          </a:xfrm>
          <a:prstGeom prst="rect">
            <a:avLst/>
          </a:prstGeom>
        </p:spPr>
      </p:pic>
      <p:sp>
        <p:nvSpPr>
          <p:cNvPr id="16" name="Rectangle: Rounded Corners 50">
            <a:extLst>
              <a:ext uri="{FF2B5EF4-FFF2-40B4-BE49-F238E27FC236}">
                <a16:creationId xmlns:a16="http://schemas.microsoft.com/office/drawing/2014/main" id="{AC0975D7-CE8D-EC43-32B8-E274E66F8E91}"/>
              </a:ext>
              <a:ext uri="{C183D7F6-B498-43B3-948B-1728B52AA6E4}">
                <adec:decorative xmlns:adec="http://schemas.microsoft.com/office/drawing/2017/decorative" val="1"/>
              </a:ext>
            </a:extLst>
          </p:cNvPr>
          <p:cNvSpPr>
            <a:spLocks/>
          </p:cNvSpPr>
          <p:nvPr/>
        </p:nvSpPr>
        <p:spPr bwMode="auto">
          <a:xfrm>
            <a:off x="503464" y="1436688"/>
            <a:ext cx="7141936" cy="4849812"/>
          </a:xfrm>
          <a:prstGeom prst="roundRect">
            <a:avLst>
              <a:gd name="adj" fmla="val 3527"/>
            </a:avLst>
          </a:prstGeom>
          <a:solidFill>
            <a:schemeClr val="bg1"/>
          </a:solidFill>
          <a:ln>
            <a:noFill/>
          </a:ln>
          <a:effectLst>
            <a:outerShdw blurRad="2286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1200"/>
              </a:spcAft>
              <a:buClrTx/>
              <a:buSzTx/>
              <a:buFontTx/>
              <a:buNone/>
              <a:tabLst>
                <a:tab pos="457200" algn="l"/>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36" name="Straight Connector 35">
            <a:extLst>
              <a:ext uri="{FF2B5EF4-FFF2-40B4-BE49-F238E27FC236}">
                <a16:creationId xmlns:a16="http://schemas.microsoft.com/office/drawing/2014/main" id="{3885B9C3-5C0C-3B11-2686-A21F8E2DC8A6}"/>
              </a:ext>
              <a:ext uri="{C183D7F6-B498-43B3-948B-1728B52AA6E4}">
                <adec:decorative xmlns:adec="http://schemas.microsoft.com/office/drawing/2017/decorative" val="1"/>
              </a:ext>
            </a:extLst>
          </p:cNvPr>
          <p:cNvCxnSpPr>
            <a:cxnSpLocks/>
          </p:cNvCxnSpPr>
          <p:nvPr/>
        </p:nvCxnSpPr>
        <p:spPr>
          <a:xfrm>
            <a:off x="1522748" y="2845251"/>
            <a:ext cx="5817852" cy="0"/>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89114CB-8889-415B-1B0C-7AE9F2B1D024}"/>
              </a:ext>
              <a:ext uri="{C183D7F6-B498-43B3-948B-1728B52AA6E4}">
                <adec:decorative xmlns:adec="http://schemas.microsoft.com/office/drawing/2017/decorative" val="1"/>
              </a:ext>
            </a:extLst>
          </p:cNvPr>
          <p:cNvCxnSpPr>
            <a:cxnSpLocks/>
          </p:cNvCxnSpPr>
          <p:nvPr/>
        </p:nvCxnSpPr>
        <p:spPr>
          <a:xfrm>
            <a:off x="1522748" y="4634205"/>
            <a:ext cx="5817852" cy="0"/>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9D20C3EE-7692-F58B-8513-8324C7848DEE}"/>
              </a:ext>
              <a:ext uri="{C183D7F6-B498-43B3-948B-1728B52AA6E4}">
                <adec:decorative xmlns:adec="http://schemas.microsoft.com/office/drawing/2017/decorative" val="1"/>
              </a:ext>
            </a:extLst>
          </p:cNvPr>
          <p:cNvGrpSpPr/>
          <p:nvPr/>
        </p:nvGrpSpPr>
        <p:grpSpPr>
          <a:xfrm>
            <a:off x="756015" y="1673775"/>
            <a:ext cx="549017" cy="549017"/>
            <a:chOff x="756015" y="1673775"/>
            <a:chExt cx="549017" cy="549017"/>
          </a:xfrm>
        </p:grpSpPr>
        <p:sp>
          <p:nvSpPr>
            <p:cNvPr id="14" name="Oval 13">
              <a:extLst>
                <a:ext uri="{FF2B5EF4-FFF2-40B4-BE49-F238E27FC236}">
                  <a16:creationId xmlns:a16="http://schemas.microsoft.com/office/drawing/2014/main" id="{4E288316-8039-4599-9F8A-C814C751BF4D}"/>
                </a:ext>
              </a:extLst>
            </p:cNvPr>
            <p:cNvSpPr>
              <a:spLocks/>
            </p:cNvSpPr>
            <p:nvPr/>
          </p:nvSpPr>
          <p:spPr bwMode="auto">
            <a:xfrm>
              <a:off x="756015" y="1673775"/>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1" name="Graphic 8" descr="Icon of an AI robot">
              <a:extLst>
                <a:ext uri="{FF2B5EF4-FFF2-40B4-BE49-F238E27FC236}">
                  <a16:creationId xmlns:a16="http://schemas.microsoft.com/office/drawing/2014/main" id="{FCDB43AA-5831-C9D6-372F-593E910EF4A2}"/>
                </a:ext>
              </a:extLst>
            </p:cNvPr>
            <p:cNvSpPr>
              <a:spLocks noChangeAspect="1"/>
            </p:cNvSpPr>
            <p:nvPr/>
          </p:nvSpPr>
          <p:spPr>
            <a:xfrm>
              <a:off x="905138" y="1791541"/>
              <a:ext cx="250772" cy="313484"/>
            </a:xfrm>
            <a:custGeom>
              <a:avLst/>
              <a:gdLst>
                <a:gd name="connsiteX0" fmla="*/ 310304 w 361083"/>
                <a:gd name="connsiteY0" fmla="*/ 270807 h 451381"/>
                <a:gd name="connsiteX1" fmla="*/ 361083 w 361083"/>
                <a:gd name="connsiteY1" fmla="*/ 321586 h 451381"/>
                <a:gd name="connsiteX2" fmla="*/ 361083 w 361083"/>
                <a:gd name="connsiteY2" fmla="*/ 342013 h 451381"/>
                <a:gd name="connsiteX3" fmla="*/ 331579 w 361083"/>
                <a:gd name="connsiteY3" fmla="*/ 406227 h 451381"/>
                <a:gd name="connsiteX4" fmla="*/ 180468 w 361083"/>
                <a:gd name="connsiteY4" fmla="*/ 451382 h 451381"/>
                <a:gd name="connsiteX5" fmla="*/ 29458 w 361083"/>
                <a:gd name="connsiteY5" fmla="*/ 406238 h 451381"/>
                <a:gd name="connsiteX6" fmla="*/ 0 w 361083"/>
                <a:gd name="connsiteY6" fmla="*/ 342063 h 451381"/>
                <a:gd name="connsiteX7" fmla="*/ 0 w 361083"/>
                <a:gd name="connsiteY7" fmla="*/ 321586 h 451381"/>
                <a:gd name="connsiteX8" fmla="*/ 50779 w 361083"/>
                <a:gd name="connsiteY8" fmla="*/ 270807 h 451381"/>
                <a:gd name="connsiteX9" fmla="*/ 310304 w 361083"/>
                <a:gd name="connsiteY9" fmla="*/ 270807 h 451381"/>
                <a:gd name="connsiteX10" fmla="*/ 310304 w 361083"/>
                <a:gd name="connsiteY10" fmla="*/ 304660 h 451381"/>
                <a:gd name="connsiteX11" fmla="*/ 50779 w 361083"/>
                <a:gd name="connsiteY11" fmla="*/ 304660 h 451381"/>
                <a:gd name="connsiteX12" fmla="*/ 33853 w 361083"/>
                <a:gd name="connsiteY12" fmla="*/ 321586 h 451381"/>
                <a:gd name="connsiteX13" fmla="*/ 33853 w 361083"/>
                <a:gd name="connsiteY13" fmla="*/ 342063 h 451381"/>
                <a:gd name="connsiteX14" fmla="*/ 51527 w 361083"/>
                <a:gd name="connsiteY14" fmla="*/ 380569 h 451381"/>
                <a:gd name="connsiteX15" fmla="*/ 180468 w 361083"/>
                <a:gd name="connsiteY15" fmla="*/ 417529 h 451381"/>
                <a:gd name="connsiteX16" fmla="*/ 309530 w 361083"/>
                <a:gd name="connsiteY16" fmla="*/ 380542 h 451381"/>
                <a:gd name="connsiteX17" fmla="*/ 327231 w 361083"/>
                <a:gd name="connsiteY17" fmla="*/ 342013 h 451381"/>
                <a:gd name="connsiteX18" fmla="*/ 327231 w 361083"/>
                <a:gd name="connsiteY18" fmla="*/ 321586 h 451381"/>
                <a:gd name="connsiteX19" fmla="*/ 310304 w 361083"/>
                <a:gd name="connsiteY19" fmla="*/ 304660 h 451381"/>
                <a:gd name="connsiteX20" fmla="*/ 178177 w 361083"/>
                <a:gd name="connsiteY20" fmla="*/ 155 h 451381"/>
                <a:gd name="connsiteX21" fmla="*/ 180475 w 361083"/>
                <a:gd name="connsiteY21" fmla="*/ 0 h 451381"/>
                <a:gd name="connsiteX22" fmla="*/ 197245 w 361083"/>
                <a:gd name="connsiteY22" fmla="*/ 14630 h 451381"/>
                <a:gd name="connsiteX23" fmla="*/ 197401 w 361083"/>
                <a:gd name="connsiteY23" fmla="*/ 16926 h 451381"/>
                <a:gd name="connsiteX24" fmla="*/ 197383 w 361083"/>
                <a:gd name="connsiteY24" fmla="*/ 33830 h 451381"/>
                <a:gd name="connsiteX25" fmla="*/ 276384 w 361083"/>
                <a:gd name="connsiteY25" fmla="*/ 33842 h 451381"/>
                <a:gd name="connsiteX26" fmla="*/ 327163 w 361083"/>
                <a:gd name="connsiteY26" fmla="*/ 84621 h 451381"/>
                <a:gd name="connsiteX27" fmla="*/ 327163 w 361083"/>
                <a:gd name="connsiteY27" fmla="*/ 186282 h 451381"/>
                <a:gd name="connsiteX28" fmla="*/ 276384 w 361083"/>
                <a:gd name="connsiteY28" fmla="*/ 237061 h 451381"/>
                <a:gd name="connsiteX29" fmla="*/ 84551 w 361083"/>
                <a:gd name="connsiteY29" fmla="*/ 237061 h 451381"/>
                <a:gd name="connsiteX30" fmla="*/ 33773 w 361083"/>
                <a:gd name="connsiteY30" fmla="*/ 186282 h 451381"/>
                <a:gd name="connsiteX31" fmla="*/ 33773 w 361083"/>
                <a:gd name="connsiteY31" fmla="*/ 84621 h 451381"/>
                <a:gd name="connsiteX32" fmla="*/ 84551 w 361083"/>
                <a:gd name="connsiteY32" fmla="*/ 33842 h 451381"/>
                <a:gd name="connsiteX33" fmla="*/ 163531 w 361083"/>
                <a:gd name="connsiteY33" fmla="*/ 33830 h 451381"/>
                <a:gd name="connsiteX34" fmla="*/ 163549 w 361083"/>
                <a:gd name="connsiteY34" fmla="*/ 16926 h 451381"/>
                <a:gd name="connsiteX35" fmla="*/ 178177 w 361083"/>
                <a:gd name="connsiteY35" fmla="*/ 155 h 451381"/>
                <a:gd name="connsiteX36" fmla="*/ 180475 w 361083"/>
                <a:gd name="connsiteY36" fmla="*/ 0 h 451381"/>
                <a:gd name="connsiteX37" fmla="*/ 178177 w 361083"/>
                <a:gd name="connsiteY37" fmla="*/ 155 h 451381"/>
                <a:gd name="connsiteX38" fmla="*/ 276384 w 361083"/>
                <a:gd name="connsiteY38" fmla="*/ 67694 h 451381"/>
                <a:gd name="connsiteX39" fmla="*/ 84551 w 361083"/>
                <a:gd name="connsiteY39" fmla="*/ 67694 h 451381"/>
                <a:gd name="connsiteX40" fmla="*/ 67625 w 361083"/>
                <a:gd name="connsiteY40" fmla="*/ 84621 h 451381"/>
                <a:gd name="connsiteX41" fmla="*/ 67625 w 361083"/>
                <a:gd name="connsiteY41" fmla="*/ 186282 h 451381"/>
                <a:gd name="connsiteX42" fmla="*/ 84551 w 361083"/>
                <a:gd name="connsiteY42" fmla="*/ 203208 h 451381"/>
                <a:gd name="connsiteX43" fmla="*/ 276384 w 361083"/>
                <a:gd name="connsiteY43" fmla="*/ 203208 h 451381"/>
                <a:gd name="connsiteX44" fmla="*/ 293310 w 361083"/>
                <a:gd name="connsiteY44" fmla="*/ 186282 h 451381"/>
                <a:gd name="connsiteX45" fmla="*/ 293310 w 361083"/>
                <a:gd name="connsiteY45" fmla="*/ 84621 h 451381"/>
                <a:gd name="connsiteX46" fmla="*/ 276384 w 361083"/>
                <a:gd name="connsiteY46" fmla="*/ 67694 h 451381"/>
                <a:gd name="connsiteX47" fmla="*/ 129672 w 361083"/>
                <a:gd name="connsiteY47" fmla="*/ 101547 h 451381"/>
                <a:gd name="connsiteX48" fmla="*/ 157866 w 361083"/>
                <a:gd name="connsiteY48" fmla="*/ 129741 h 451381"/>
                <a:gd name="connsiteX49" fmla="*/ 129672 w 361083"/>
                <a:gd name="connsiteY49" fmla="*/ 157936 h 451381"/>
                <a:gd name="connsiteX50" fmla="*/ 101478 w 361083"/>
                <a:gd name="connsiteY50" fmla="*/ 129741 h 451381"/>
                <a:gd name="connsiteX51" fmla="*/ 129672 w 361083"/>
                <a:gd name="connsiteY51" fmla="*/ 101547 h 451381"/>
                <a:gd name="connsiteX52" fmla="*/ 231067 w 361083"/>
                <a:gd name="connsiteY52" fmla="*/ 101547 h 451381"/>
                <a:gd name="connsiteX53" fmla="*/ 259261 w 361083"/>
                <a:gd name="connsiteY53" fmla="*/ 129741 h 451381"/>
                <a:gd name="connsiteX54" fmla="*/ 231067 w 361083"/>
                <a:gd name="connsiteY54" fmla="*/ 157936 h 451381"/>
                <a:gd name="connsiteX55" fmla="*/ 202872 w 361083"/>
                <a:gd name="connsiteY55" fmla="*/ 129741 h 451381"/>
                <a:gd name="connsiteX56" fmla="*/ 231067 w 361083"/>
                <a:gd name="connsiteY56" fmla="*/ 101547 h 45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1083" h="451381">
                  <a:moveTo>
                    <a:pt x="310304" y="270807"/>
                  </a:moveTo>
                  <a:cubicBezTo>
                    <a:pt x="338350" y="270807"/>
                    <a:pt x="361083" y="293543"/>
                    <a:pt x="361083" y="321586"/>
                  </a:cubicBezTo>
                  <a:lnTo>
                    <a:pt x="361083" y="342013"/>
                  </a:lnTo>
                  <a:cubicBezTo>
                    <a:pt x="361083" y="366696"/>
                    <a:pt x="350309" y="390149"/>
                    <a:pt x="331579" y="406227"/>
                  </a:cubicBezTo>
                  <a:cubicBezTo>
                    <a:pt x="296251" y="436557"/>
                    <a:pt x="245691" y="451382"/>
                    <a:pt x="180468" y="451382"/>
                  </a:cubicBezTo>
                  <a:cubicBezTo>
                    <a:pt x="115256" y="451382"/>
                    <a:pt x="64729" y="436563"/>
                    <a:pt x="29458" y="406238"/>
                  </a:cubicBezTo>
                  <a:cubicBezTo>
                    <a:pt x="10757" y="390161"/>
                    <a:pt x="0" y="366726"/>
                    <a:pt x="0" y="342063"/>
                  </a:cubicBezTo>
                  <a:lnTo>
                    <a:pt x="0" y="321586"/>
                  </a:lnTo>
                  <a:cubicBezTo>
                    <a:pt x="0" y="293543"/>
                    <a:pt x="22735" y="270807"/>
                    <a:pt x="50779" y="270807"/>
                  </a:cubicBezTo>
                  <a:lnTo>
                    <a:pt x="310304" y="270807"/>
                  </a:lnTo>
                  <a:close/>
                  <a:moveTo>
                    <a:pt x="310304" y="304660"/>
                  </a:moveTo>
                  <a:lnTo>
                    <a:pt x="50779" y="304660"/>
                  </a:lnTo>
                  <a:cubicBezTo>
                    <a:pt x="41431" y="304660"/>
                    <a:pt x="33853" y="312239"/>
                    <a:pt x="33853" y="321586"/>
                  </a:cubicBezTo>
                  <a:lnTo>
                    <a:pt x="33853" y="342063"/>
                  </a:lnTo>
                  <a:cubicBezTo>
                    <a:pt x="33853" y="356861"/>
                    <a:pt x="40307" y="370921"/>
                    <a:pt x="51527" y="380569"/>
                  </a:cubicBezTo>
                  <a:cubicBezTo>
                    <a:pt x="79920" y="404979"/>
                    <a:pt x="122710" y="417529"/>
                    <a:pt x="180468" y="417529"/>
                  </a:cubicBezTo>
                  <a:cubicBezTo>
                    <a:pt x="238241" y="417529"/>
                    <a:pt x="281074" y="404972"/>
                    <a:pt x="309530" y="380542"/>
                  </a:cubicBezTo>
                  <a:cubicBezTo>
                    <a:pt x="320765" y="370894"/>
                    <a:pt x="327231" y="356822"/>
                    <a:pt x="327231" y="342013"/>
                  </a:cubicBezTo>
                  <a:lnTo>
                    <a:pt x="327231" y="321586"/>
                  </a:lnTo>
                  <a:cubicBezTo>
                    <a:pt x="327231" y="312239"/>
                    <a:pt x="319652" y="304660"/>
                    <a:pt x="310304" y="304660"/>
                  </a:cubicBezTo>
                  <a:close/>
                  <a:moveTo>
                    <a:pt x="178177" y="155"/>
                  </a:moveTo>
                  <a:lnTo>
                    <a:pt x="180475" y="0"/>
                  </a:lnTo>
                  <a:cubicBezTo>
                    <a:pt x="189044" y="0"/>
                    <a:pt x="196126" y="6368"/>
                    <a:pt x="197245" y="14630"/>
                  </a:cubicBezTo>
                  <a:lnTo>
                    <a:pt x="197401" y="16926"/>
                  </a:lnTo>
                  <a:lnTo>
                    <a:pt x="197383" y="33830"/>
                  </a:lnTo>
                  <a:lnTo>
                    <a:pt x="276384" y="33842"/>
                  </a:lnTo>
                  <a:cubicBezTo>
                    <a:pt x="304427" y="33842"/>
                    <a:pt x="327163" y="56576"/>
                    <a:pt x="327163" y="84621"/>
                  </a:cubicBezTo>
                  <a:lnTo>
                    <a:pt x="327163" y="186282"/>
                  </a:lnTo>
                  <a:cubicBezTo>
                    <a:pt x="327163" y="214325"/>
                    <a:pt x="304427" y="237061"/>
                    <a:pt x="276384" y="237061"/>
                  </a:cubicBezTo>
                  <a:lnTo>
                    <a:pt x="84551" y="237061"/>
                  </a:lnTo>
                  <a:cubicBezTo>
                    <a:pt x="56507" y="237061"/>
                    <a:pt x="33773" y="214325"/>
                    <a:pt x="33773" y="186282"/>
                  </a:cubicBezTo>
                  <a:lnTo>
                    <a:pt x="33773" y="84621"/>
                  </a:lnTo>
                  <a:cubicBezTo>
                    <a:pt x="33773" y="56576"/>
                    <a:pt x="56507" y="33842"/>
                    <a:pt x="84551" y="33842"/>
                  </a:cubicBezTo>
                  <a:lnTo>
                    <a:pt x="163531" y="33830"/>
                  </a:lnTo>
                  <a:lnTo>
                    <a:pt x="163549" y="16926"/>
                  </a:lnTo>
                  <a:cubicBezTo>
                    <a:pt x="163549" y="8357"/>
                    <a:pt x="169915" y="1275"/>
                    <a:pt x="178177" y="155"/>
                  </a:cubicBezTo>
                  <a:lnTo>
                    <a:pt x="180475" y="0"/>
                  </a:lnTo>
                  <a:lnTo>
                    <a:pt x="178177" y="155"/>
                  </a:lnTo>
                  <a:close/>
                  <a:moveTo>
                    <a:pt x="276384" y="67694"/>
                  </a:moveTo>
                  <a:lnTo>
                    <a:pt x="84551" y="67694"/>
                  </a:lnTo>
                  <a:cubicBezTo>
                    <a:pt x="75203" y="67694"/>
                    <a:pt x="67625" y="75272"/>
                    <a:pt x="67625" y="84621"/>
                  </a:cubicBezTo>
                  <a:lnTo>
                    <a:pt x="67625" y="186282"/>
                  </a:lnTo>
                  <a:cubicBezTo>
                    <a:pt x="67625" y="195630"/>
                    <a:pt x="75203" y="203208"/>
                    <a:pt x="84551" y="203208"/>
                  </a:cubicBezTo>
                  <a:lnTo>
                    <a:pt x="276384" y="203208"/>
                  </a:lnTo>
                  <a:cubicBezTo>
                    <a:pt x="285732" y="203208"/>
                    <a:pt x="293310" y="195630"/>
                    <a:pt x="293310" y="186282"/>
                  </a:cubicBezTo>
                  <a:lnTo>
                    <a:pt x="293310" y="84621"/>
                  </a:lnTo>
                  <a:cubicBezTo>
                    <a:pt x="293310" y="75272"/>
                    <a:pt x="285732" y="67694"/>
                    <a:pt x="276384" y="67694"/>
                  </a:cubicBezTo>
                  <a:close/>
                  <a:moveTo>
                    <a:pt x="129672" y="101547"/>
                  </a:moveTo>
                  <a:cubicBezTo>
                    <a:pt x="145243" y="101547"/>
                    <a:pt x="157866" y="114170"/>
                    <a:pt x="157866" y="129741"/>
                  </a:cubicBezTo>
                  <a:cubicBezTo>
                    <a:pt x="157866" y="145313"/>
                    <a:pt x="145243" y="157936"/>
                    <a:pt x="129672" y="157936"/>
                  </a:cubicBezTo>
                  <a:cubicBezTo>
                    <a:pt x="114101" y="157936"/>
                    <a:pt x="101478" y="145313"/>
                    <a:pt x="101478" y="129741"/>
                  </a:cubicBezTo>
                  <a:cubicBezTo>
                    <a:pt x="101478" y="114170"/>
                    <a:pt x="114101" y="101547"/>
                    <a:pt x="129672" y="101547"/>
                  </a:cubicBezTo>
                  <a:close/>
                  <a:moveTo>
                    <a:pt x="231067" y="101547"/>
                  </a:moveTo>
                  <a:cubicBezTo>
                    <a:pt x="246639" y="101547"/>
                    <a:pt x="259261" y="114170"/>
                    <a:pt x="259261" y="129741"/>
                  </a:cubicBezTo>
                  <a:cubicBezTo>
                    <a:pt x="259261" y="145313"/>
                    <a:pt x="246639" y="157936"/>
                    <a:pt x="231067" y="157936"/>
                  </a:cubicBezTo>
                  <a:cubicBezTo>
                    <a:pt x="215494" y="157936"/>
                    <a:pt x="202872" y="145313"/>
                    <a:pt x="202872" y="129741"/>
                  </a:cubicBezTo>
                  <a:cubicBezTo>
                    <a:pt x="202872" y="114170"/>
                    <a:pt x="215494" y="101547"/>
                    <a:pt x="231067" y="101547"/>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68" name="Group 67">
            <a:extLst>
              <a:ext uri="{FF2B5EF4-FFF2-40B4-BE49-F238E27FC236}">
                <a16:creationId xmlns:a16="http://schemas.microsoft.com/office/drawing/2014/main" id="{FFDFAAEC-95BA-94F8-4BD4-E05E03706E1B}"/>
              </a:ext>
              <a:ext uri="{C183D7F6-B498-43B3-948B-1728B52AA6E4}">
                <adec:decorative xmlns:adec="http://schemas.microsoft.com/office/drawing/2017/decorative" val="1"/>
              </a:ext>
            </a:extLst>
          </p:cNvPr>
          <p:cNvGrpSpPr/>
          <p:nvPr/>
        </p:nvGrpSpPr>
        <p:grpSpPr>
          <a:xfrm>
            <a:off x="756015" y="4974684"/>
            <a:ext cx="549017" cy="549017"/>
            <a:chOff x="756015" y="4974684"/>
            <a:chExt cx="549017" cy="549017"/>
          </a:xfrm>
        </p:grpSpPr>
        <p:sp>
          <p:nvSpPr>
            <p:cNvPr id="21" name="Oval 20">
              <a:extLst>
                <a:ext uri="{FF2B5EF4-FFF2-40B4-BE49-F238E27FC236}">
                  <a16:creationId xmlns:a16="http://schemas.microsoft.com/office/drawing/2014/main" id="{0808CFFD-9926-8D59-458B-48E9406CFEA4}"/>
                </a:ext>
              </a:extLst>
            </p:cNvPr>
            <p:cNvSpPr>
              <a:spLocks/>
            </p:cNvSpPr>
            <p:nvPr/>
          </p:nvSpPr>
          <p:spPr bwMode="auto">
            <a:xfrm>
              <a:off x="756015" y="4974684"/>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5" name="Graphic 62">
              <a:extLst>
                <a:ext uri="{FF2B5EF4-FFF2-40B4-BE49-F238E27FC236}">
                  <a16:creationId xmlns:a16="http://schemas.microsoft.com/office/drawing/2014/main" id="{E7F33059-4B13-6030-28E6-596DC5C78C14}"/>
                </a:ext>
              </a:extLst>
            </p:cNvPr>
            <p:cNvSpPr/>
            <p:nvPr/>
          </p:nvSpPr>
          <p:spPr>
            <a:xfrm>
              <a:off x="910904" y="5092088"/>
              <a:ext cx="239240" cy="314208"/>
            </a:xfrm>
            <a:custGeom>
              <a:avLst/>
              <a:gdLst>
                <a:gd name="connsiteX0" fmla="*/ 26730 w 145741"/>
                <a:gd name="connsiteY0" fmla="*/ 4463 h 191412"/>
                <a:gd name="connsiteX1" fmla="*/ 37846 w 145741"/>
                <a:gd name="connsiteY1" fmla="*/ 1120 h 191412"/>
                <a:gd name="connsiteX2" fmla="*/ 69297 w 145741"/>
                <a:gd name="connsiteY2" fmla="*/ 15455 h 191412"/>
                <a:gd name="connsiteX3" fmla="*/ 77889 w 145741"/>
                <a:gd name="connsiteY3" fmla="*/ 34562 h 191412"/>
                <a:gd name="connsiteX4" fmla="*/ 71859 w 145741"/>
                <a:gd name="connsiteY4" fmla="*/ 64461 h 191412"/>
                <a:gd name="connsiteX5" fmla="*/ 57629 w 145741"/>
                <a:gd name="connsiteY5" fmla="*/ 77729 h 191412"/>
                <a:gd name="connsiteX6" fmla="*/ 56886 w 145741"/>
                <a:gd name="connsiteY6" fmla="*/ 79206 h 191412"/>
                <a:gd name="connsiteX7" fmla="*/ 64935 w 145741"/>
                <a:gd name="connsiteY7" fmla="*/ 100589 h 191412"/>
                <a:gd name="connsiteX8" fmla="*/ 76431 w 145741"/>
                <a:gd name="connsiteY8" fmla="*/ 116182 h 191412"/>
                <a:gd name="connsiteX9" fmla="*/ 80546 w 145741"/>
                <a:gd name="connsiteY9" fmla="*/ 118515 h 191412"/>
                <a:gd name="connsiteX10" fmla="*/ 99691 w 145741"/>
                <a:gd name="connsiteY10" fmla="*/ 112657 h 191412"/>
                <a:gd name="connsiteX11" fmla="*/ 128590 w 145741"/>
                <a:gd name="connsiteY11" fmla="*/ 122373 h 191412"/>
                <a:gd name="connsiteX12" fmla="*/ 140792 w 145741"/>
                <a:gd name="connsiteY12" fmla="*/ 139289 h 191412"/>
                <a:gd name="connsiteX13" fmla="*/ 137563 w 145741"/>
                <a:gd name="connsiteY13" fmla="*/ 173627 h 191412"/>
                <a:gd name="connsiteX14" fmla="*/ 129124 w 145741"/>
                <a:gd name="connsiteY14" fmla="*/ 181628 h 191412"/>
                <a:gd name="connsiteX15" fmla="*/ 94958 w 145741"/>
                <a:gd name="connsiteY15" fmla="*/ 190096 h 191412"/>
                <a:gd name="connsiteX16" fmla="*/ 24139 w 145741"/>
                <a:gd name="connsiteY16" fmla="*/ 124145 h 191412"/>
                <a:gd name="connsiteX17" fmla="*/ 2460 w 145741"/>
                <a:gd name="connsiteY17" fmla="*/ 29723 h 191412"/>
                <a:gd name="connsiteX18" fmla="*/ 26730 w 145741"/>
                <a:gd name="connsiteY18" fmla="*/ 4463 h 191412"/>
                <a:gd name="connsiteX19" fmla="*/ 30854 w 145741"/>
                <a:gd name="connsiteY19" fmla="*/ 18150 h 191412"/>
                <a:gd name="connsiteX20" fmla="*/ 16291 w 145741"/>
                <a:gd name="connsiteY20" fmla="*/ 33295 h 191412"/>
                <a:gd name="connsiteX21" fmla="*/ 36512 w 145741"/>
                <a:gd name="connsiteY21" fmla="*/ 117001 h 191412"/>
                <a:gd name="connsiteX22" fmla="*/ 98806 w 145741"/>
                <a:gd name="connsiteY22" fmla="*/ 176342 h 191412"/>
                <a:gd name="connsiteX23" fmla="*/ 119294 w 145741"/>
                <a:gd name="connsiteY23" fmla="*/ 171255 h 191412"/>
                <a:gd name="connsiteX24" fmla="*/ 127743 w 145741"/>
                <a:gd name="connsiteY24" fmla="*/ 163254 h 191412"/>
                <a:gd name="connsiteX25" fmla="*/ 129209 w 145741"/>
                <a:gd name="connsiteY25" fmla="*/ 147643 h 191412"/>
                <a:gd name="connsiteX26" fmla="*/ 117017 w 145741"/>
                <a:gd name="connsiteY26" fmla="*/ 130736 h 191412"/>
                <a:gd name="connsiteX27" fmla="*/ 103873 w 145741"/>
                <a:gd name="connsiteY27" fmla="*/ 126316 h 191412"/>
                <a:gd name="connsiteX28" fmla="*/ 84680 w 145741"/>
                <a:gd name="connsiteY28" fmla="*/ 132193 h 191412"/>
                <a:gd name="connsiteX29" fmla="*/ 52562 w 145741"/>
                <a:gd name="connsiteY29" fmla="*/ 107733 h 191412"/>
                <a:gd name="connsiteX30" fmla="*/ 42684 w 145741"/>
                <a:gd name="connsiteY30" fmla="*/ 77624 h 191412"/>
                <a:gd name="connsiteX31" fmla="*/ 47885 w 145741"/>
                <a:gd name="connsiteY31" fmla="*/ 67280 h 191412"/>
                <a:gd name="connsiteX32" fmla="*/ 62115 w 145741"/>
                <a:gd name="connsiteY32" fmla="*/ 54012 h 191412"/>
                <a:gd name="connsiteX33" fmla="*/ 64859 w 145741"/>
                <a:gd name="connsiteY33" fmla="*/ 40420 h 191412"/>
                <a:gd name="connsiteX34" fmla="*/ 56267 w 145741"/>
                <a:gd name="connsiteY34" fmla="*/ 21313 h 191412"/>
                <a:gd name="connsiteX35" fmla="*/ 41979 w 145741"/>
                <a:gd name="connsiteY35" fmla="*/ 14798 h 191412"/>
                <a:gd name="connsiteX36" fmla="*/ 30854 w 145741"/>
                <a:gd name="connsiteY36" fmla="*/ 18150 h 19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5741" h="191412">
                  <a:moveTo>
                    <a:pt x="26730" y="4463"/>
                  </a:moveTo>
                  <a:lnTo>
                    <a:pt x="37846" y="1120"/>
                  </a:lnTo>
                  <a:cubicBezTo>
                    <a:pt x="50442" y="-2679"/>
                    <a:pt x="63901" y="3456"/>
                    <a:pt x="69297" y="15455"/>
                  </a:cubicBezTo>
                  <a:lnTo>
                    <a:pt x="77889" y="34562"/>
                  </a:lnTo>
                  <a:cubicBezTo>
                    <a:pt x="82487" y="44791"/>
                    <a:pt x="80063" y="56813"/>
                    <a:pt x="71859" y="64461"/>
                  </a:cubicBezTo>
                  <a:lnTo>
                    <a:pt x="57629" y="77729"/>
                  </a:lnTo>
                  <a:cubicBezTo>
                    <a:pt x="57213" y="78117"/>
                    <a:pt x="56950" y="78641"/>
                    <a:pt x="56886" y="79206"/>
                  </a:cubicBezTo>
                  <a:cubicBezTo>
                    <a:pt x="56467" y="82987"/>
                    <a:pt x="59029" y="90350"/>
                    <a:pt x="64935" y="100589"/>
                  </a:cubicBezTo>
                  <a:cubicBezTo>
                    <a:pt x="69230" y="108028"/>
                    <a:pt x="73126" y="113257"/>
                    <a:pt x="76431" y="116182"/>
                  </a:cubicBezTo>
                  <a:cubicBezTo>
                    <a:pt x="78736" y="118230"/>
                    <a:pt x="80003" y="118668"/>
                    <a:pt x="80546" y="118515"/>
                  </a:cubicBezTo>
                  <a:lnTo>
                    <a:pt x="99691" y="112657"/>
                  </a:lnTo>
                  <a:cubicBezTo>
                    <a:pt x="110411" y="109379"/>
                    <a:pt x="122029" y="113284"/>
                    <a:pt x="128590" y="122373"/>
                  </a:cubicBezTo>
                  <a:lnTo>
                    <a:pt x="140792" y="139289"/>
                  </a:lnTo>
                  <a:cubicBezTo>
                    <a:pt x="148466" y="149929"/>
                    <a:pt x="147086" y="164605"/>
                    <a:pt x="137563" y="173627"/>
                  </a:cubicBezTo>
                  <a:lnTo>
                    <a:pt x="129124" y="181628"/>
                  </a:lnTo>
                  <a:cubicBezTo>
                    <a:pt x="120013" y="190256"/>
                    <a:pt x="107043" y="193470"/>
                    <a:pt x="94958" y="190096"/>
                  </a:cubicBezTo>
                  <a:cubicBezTo>
                    <a:pt x="68726" y="182771"/>
                    <a:pt x="45208" y="160635"/>
                    <a:pt x="24139" y="124145"/>
                  </a:cubicBezTo>
                  <a:cubicBezTo>
                    <a:pt x="3041" y="87607"/>
                    <a:pt x="-4360" y="56136"/>
                    <a:pt x="2460" y="29723"/>
                  </a:cubicBezTo>
                  <a:cubicBezTo>
                    <a:pt x="5582" y="17642"/>
                    <a:pt x="14783" y="8066"/>
                    <a:pt x="26730" y="4463"/>
                  </a:cubicBezTo>
                  <a:close/>
                  <a:moveTo>
                    <a:pt x="30854" y="18150"/>
                  </a:moveTo>
                  <a:cubicBezTo>
                    <a:pt x="23688" y="20309"/>
                    <a:pt x="18168" y="26050"/>
                    <a:pt x="16291" y="33295"/>
                  </a:cubicBezTo>
                  <a:cubicBezTo>
                    <a:pt x="10556" y="55507"/>
                    <a:pt x="17119" y="83406"/>
                    <a:pt x="36512" y="117001"/>
                  </a:cubicBezTo>
                  <a:cubicBezTo>
                    <a:pt x="55876" y="150548"/>
                    <a:pt x="76727" y="170169"/>
                    <a:pt x="98806" y="176342"/>
                  </a:cubicBezTo>
                  <a:cubicBezTo>
                    <a:pt x="106054" y="178361"/>
                    <a:pt x="113831" y="176430"/>
                    <a:pt x="119294" y="171255"/>
                  </a:cubicBezTo>
                  <a:lnTo>
                    <a:pt x="127743" y="163254"/>
                  </a:lnTo>
                  <a:cubicBezTo>
                    <a:pt x="132073" y="159153"/>
                    <a:pt x="132700" y="152480"/>
                    <a:pt x="129209" y="147643"/>
                  </a:cubicBezTo>
                  <a:lnTo>
                    <a:pt x="117017" y="130736"/>
                  </a:lnTo>
                  <a:cubicBezTo>
                    <a:pt x="114034" y="126600"/>
                    <a:pt x="108749" y="124823"/>
                    <a:pt x="103873" y="126316"/>
                  </a:cubicBezTo>
                  <a:lnTo>
                    <a:pt x="84680" y="132193"/>
                  </a:lnTo>
                  <a:cubicBezTo>
                    <a:pt x="73536" y="135508"/>
                    <a:pt x="63420" y="126545"/>
                    <a:pt x="52562" y="107733"/>
                  </a:cubicBezTo>
                  <a:cubicBezTo>
                    <a:pt x="45247" y="95065"/>
                    <a:pt x="41837" y="85254"/>
                    <a:pt x="42684" y="77624"/>
                  </a:cubicBezTo>
                  <a:cubicBezTo>
                    <a:pt x="43132" y="73662"/>
                    <a:pt x="44970" y="70004"/>
                    <a:pt x="47885" y="67280"/>
                  </a:cubicBezTo>
                  <a:lnTo>
                    <a:pt x="62115" y="54012"/>
                  </a:lnTo>
                  <a:cubicBezTo>
                    <a:pt x="65846" y="50536"/>
                    <a:pt x="66949" y="45070"/>
                    <a:pt x="64859" y="40420"/>
                  </a:cubicBezTo>
                  <a:lnTo>
                    <a:pt x="56267" y="21313"/>
                  </a:lnTo>
                  <a:cubicBezTo>
                    <a:pt x="53814" y="15863"/>
                    <a:pt x="47702" y="13076"/>
                    <a:pt x="41979" y="14798"/>
                  </a:cubicBezTo>
                  <a:lnTo>
                    <a:pt x="30854" y="18150"/>
                  </a:ln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70" name="Group 69">
            <a:extLst>
              <a:ext uri="{FF2B5EF4-FFF2-40B4-BE49-F238E27FC236}">
                <a16:creationId xmlns:a16="http://schemas.microsoft.com/office/drawing/2014/main" id="{DDE92803-714A-52FD-E5B5-803A96E5F786}"/>
              </a:ext>
              <a:ext uri="{C183D7F6-B498-43B3-948B-1728B52AA6E4}">
                <adec:decorative xmlns:adec="http://schemas.microsoft.com/office/drawing/2017/decorative" val="1"/>
              </a:ext>
            </a:extLst>
          </p:cNvPr>
          <p:cNvGrpSpPr/>
          <p:nvPr/>
        </p:nvGrpSpPr>
        <p:grpSpPr>
          <a:xfrm>
            <a:off x="756015" y="3185730"/>
            <a:ext cx="549017" cy="549017"/>
            <a:chOff x="756015" y="3185730"/>
            <a:chExt cx="549017" cy="549017"/>
          </a:xfrm>
        </p:grpSpPr>
        <p:sp>
          <p:nvSpPr>
            <p:cNvPr id="17" name="Oval 16">
              <a:extLst>
                <a:ext uri="{FF2B5EF4-FFF2-40B4-BE49-F238E27FC236}">
                  <a16:creationId xmlns:a16="http://schemas.microsoft.com/office/drawing/2014/main" id="{F7ED318C-306E-2B10-1DCA-E97DFA04A01F}"/>
                </a:ext>
              </a:extLst>
            </p:cNvPr>
            <p:cNvSpPr>
              <a:spLocks/>
            </p:cNvSpPr>
            <p:nvPr/>
          </p:nvSpPr>
          <p:spPr bwMode="auto">
            <a:xfrm>
              <a:off x="756015" y="3185730"/>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4" name="Graphic 18" descr="Icon of a book with a star ">
              <a:extLst>
                <a:ext uri="{FF2B5EF4-FFF2-40B4-BE49-F238E27FC236}">
                  <a16:creationId xmlns:a16="http://schemas.microsoft.com/office/drawing/2014/main" id="{E5F23CFF-6987-EF30-8505-4F7D65621D6F}"/>
                </a:ext>
              </a:extLst>
            </p:cNvPr>
            <p:cNvSpPr>
              <a:spLocks noChangeAspect="1"/>
            </p:cNvSpPr>
            <p:nvPr/>
          </p:nvSpPr>
          <p:spPr>
            <a:xfrm>
              <a:off x="907853" y="3311548"/>
              <a:ext cx="245340" cy="297382"/>
            </a:xfrm>
            <a:custGeom>
              <a:avLst/>
              <a:gdLst>
                <a:gd name="connsiteX0" fmla="*/ 103892 w 262048"/>
                <a:gd name="connsiteY0" fmla="*/ 104940 h 317634"/>
                <a:gd name="connsiteX1" fmla="*/ 121368 w 262048"/>
                <a:gd name="connsiteY1" fmla="*/ 69530 h 317634"/>
                <a:gd name="connsiteX2" fmla="*/ 140682 w 262048"/>
                <a:gd name="connsiteY2" fmla="*/ 69530 h 317634"/>
                <a:gd name="connsiteX3" fmla="*/ 158158 w 262048"/>
                <a:gd name="connsiteY3" fmla="*/ 104940 h 317634"/>
                <a:gd name="connsiteX4" fmla="*/ 197235 w 262048"/>
                <a:gd name="connsiteY4" fmla="*/ 110618 h 317634"/>
                <a:gd name="connsiteX5" fmla="*/ 203203 w 262048"/>
                <a:gd name="connsiteY5" fmla="*/ 128986 h 317634"/>
                <a:gd name="connsiteX6" fmla="*/ 174926 w 262048"/>
                <a:gd name="connsiteY6" fmla="*/ 156549 h 317634"/>
                <a:gd name="connsiteX7" fmla="*/ 181603 w 262048"/>
                <a:gd name="connsiteY7" fmla="*/ 195469 h 317634"/>
                <a:gd name="connsiteX8" fmla="*/ 165977 w 262048"/>
                <a:gd name="connsiteY8" fmla="*/ 206821 h 317634"/>
                <a:gd name="connsiteX9" fmla="*/ 131024 w 262048"/>
                <a:gd name="connsiteY9" fmla="*/ 188446 h 317634"/>
                <a:gd name="connsiteX10" fmla="*/ 96073 w 262048"/>
                <a:gd name="connsiteY10" fmla="*/ 206821 h 317634"/>
                <a:gd name="connsiteX11" fmla="*/ 80447 w 262048"/>
                <a:gd name="connsiteY11" fmla="*/ 195469 h 317634"/>
                <a:gd name="connsiteX12" fmla="*/ 87122 w 262048"/>
                <a:gd name="connsiteY12" fmla="*/ 156549 h 317634"/>
                <a:gd name="connsiteX13" fmla="*/ 58846 w 262048"/>
                <a:gd name="connsiteY13" fmla="*/ 128986 h 317634"/>
                <a:gd name="connsiteX14" fmla="*/ 64815 w 262048"/>
                <a:gd name="connsiteY14" fmla="*/ 110618 h 317634"/>
                <a:gd name="connsiteX15" fmla="*/ 103892 w 262048"/>
                <a:gd name="connsiteY15" fmla="*/ 104940 h 317634"/>
                <a:gd name="connsiteX16" fmla="*/ 120701 w 262048"/>
                <a:gd name="connsiteY16" fmla="*/ 119549 h 317634"/>
                <a:gd name="connsiteX17" fmla="*/ 112592 w 262048"/>
                <a:gd name="connsiteY17" fmla="*/ 125440 h 317634"/>
                <a:gd name="connsiteX18" fmla="*/ 89506 w 262048"/>
                <a:gd name="connsiteY18" fmla="*/ 128794 h 317634"/>
                <a:gd name="connsiteX19" fmla="*/ 106211 w 262048"/>
                <a:gd name="connsiteY19" fmla="*/ 145078 h 317634"/>
                <a:gd name="connsiteX20" fmla="*/ 109307 w 262048"/>
                <a:gd name="connsiteY20" fmla="*/ 154610 h 317634"/>
                <a:gd name="connsiteX21" fmla="*/ 105364 w 262048"/>
                <a:gd name="connsiteY21" fmla="*/ 177604 h 317634"/>
                <a:gd name="connsiteX22" fmla="*/ 126013 w 262048"/>
                <a:gd name="connsiteY22" fmla="*/ 166747 h 317634"/>
                <a:gd name="connsiteX23" fmla="*/ 136036 w 262048"/>
                <a:gd name="connsiteY23" fmla="*/ 166747 h 317634"/>
                <a:gd name="connsiteX24" fmla="*/ 156684 w 262048"/>
                <a:gd name="connsiteY24" fmla="*/ 177604 h 317634"/>
                <a:gd name="connsiteX25" fmla="*/ 152741 w 262048"/>
                <a:gd name="connsiteY25" fmla="*/ 154610 h 317634"/>
                <a:gd name="connsiteX26" fmla="*/ 155838 w 262048"/>
                <a:gd name="connsiteY26" fmla="*/ 145078 h 317634"/>
                <a:gd name="connsiteX27" fmla="*/ 172544 w 262048"/>
                <a:gd name="connsiteY27" fmla="*/ 128794 h 317634"/>
                <a:gd name="connsiteX28" fmla="*/ 149458 w 262048"/>
                <a:gd name="connsiteY28" fmla="*/ 125440 h 317634"/>
                <a:gd name="connsiteX29" fmla="*/ 141349 w 262048"/>
                <a:gd name="connsiteY29" fmla="*/ 119549 h 317634"/>
                <a:gd name="connsiteX30" fmla="*/ 131024 w 262048"/>
                <a:gd name="connsiteY30" fmla="*/ 98630 h 317634"/>
                <a:gd name="connsiteX31" fmla="*/ 120701 w 262048"/>
                <a:gd name="connsiteY31" fmla="*/ 119549 h 317634"/>
                <a:gd name="connsiteX32" fmla="*/ 39704 w 262048"/>
                <a:gd name="connsiteY32" fmla="*/ 0 h 317634"/>
                <a:gd name="connsiteX33" fmla="*/ 0 w 262048"/>
                <a:gd name="connsiteY33" fmla="*/ 39704 h 317634"/>
                <a:gd name="connsiteX34" fmla="*/ 0 w 262048"/>
                <a:gd name="connsiteY34" fmla="*/ 277930 h 317634"/>
                <a:gd name="connsiteX35" fmla="*/ 39704 w 262048"/>
                <a:gd name="connsiteY35" fmla="*/ 317634 h 317634"/>
                <a:gd name="connsiteX36" fmla="*/ 250137 w 262048"/>
                <a:gd name="connsiteY36" fmla="*/ 317634 h 317634"/>
                <a:gd name="connsiteX37" fmla="*/ 262048 w 262048"/>
                <a:gd name="connsiteY37" fmla="*/ 305723 h 317634"/>
                <a:gd name="connsiteX38" fmla="*/ 250137 w 262048"/>
                <a:gd name="connsiteY38" fmla="*/ 293812 h 317634"/>
                <a:gd name="connsiteX39" fmla="*/ 39704 w 262048"/>
                <a:gd name="connsiteY39" fmla="*/ 293812 h 317634"/>
                <a:gd name="connsiteX40" fmla="*/ 23823 w 262048"/>
                <a:gd name="connsiteY40" fmla="*/ 277930 h 317634"/>
                <a:gd name="connsiteX41" fmla="*/ 250137 w 262048"/>
                <a:gd name="connsiteY41" fmla="*/ 277930 h 317634"/>
                <a:gd name="connsiteX42" fmla="*/ 262048 w 262048"/>
                <a:gd name="connsiteY42" fmla="*/ 266019 h 317634"/>
                <a:gd name="connsiteX43" fmla="*/ 262048 w 262048"/>
                <a:gd name="connsiteY43" fmla="*/ 39704 h 317634"/>
                <a:gd name="connsiteX44" fmla="*/ 222344 w 262048"/>
                <a:gd name="connsiteY44" fmla="*/ 0 h 317634"/>
                <a:gd name="connsiteX45" fmla="*/ 39704 w 262048"/>
                <a:gd name="connsiteY45" fmla="*/ 0 h 317634"/>
                <a:gd name="connsiteX46" fmla="*/ 238226 w 262048"/>
                <a:gd name="connsiteY46" fmla="*/ 254107 h 317634"/>
                <a:gd name="connsiteX47" fmla="*/ 23823 w 262048"/>
                <a:gd name="connsiteY47" fmla="*/ 254107 h 317634"/>
                <a:gd name="connsiteX48" fmla="*/ 23823 w 262048"/>
                <a:gd name="connsiteY48" fmla="*/ 39704 h 317634"/>
                <a:gd name="connsiteX49" fmla="*/ 39704 w 262048"/>
                <a:gd name="connsiteY49" fmla="*/ 23823 h 317634"/>
                <a:gd name="connsiteX50" fmla="*/ 222344 w 262048"/>
                <a:gd name="connsiteY50" fmla="*/ 23823 h 317634"/>
                <a:gd name="connsiteX51" fmla="*/ 238226 w 262048"/>
                <a:gd name="connsiteY51" fmla="*/ 39704 h 317634"/>
                <a:gd name="connsiteX52" fmla="*/ 238226 w 262048"/>
                <a:gd name="connsiteY52" fmla="*/ 254107 h 317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62048" h="317634">
                  <a:moveTo>
                    <a:pt x="103892" y="104940"/>
                  </a:moveTo>
                  <a:lnTo>
                    <a:pt x="121368" y="69530"/>
                  </a:lnTo>
                  <a:cubicBezTo>
                    <a:pt x="125318" y="61526"/>
                    <a:pt x="136732" y="61526"/>
                    <a:pt x="140682" y="69530"/>
                  </a:cubicBezTo>
                  <a:lnTo>
                    <a:pt x="158158" y="104940"/>
                  </a:lnTo>
                  <a:lnTo>
                    <a:pt x="197235" y="110618"/>
                  </a:lnTo>
                  <a:cubicBezTo>
                    <a:pt x="206068" y="111902"/>
                    <a:pt x="209594" y="122757"/>
                    <a:pt x="203203" y="128986"/>
                  </a:cubicBezTo>
                  <a:lnTo>
                    <a:pt x="174926" y="156549"/>
                  </a:lnTo>
                  <a:lnTo>
                    <a:pt x="181603" y="195469"/>
                  </a:lnTo>
                  <a:cubicBezTo>
                    <a:pt x="183111" y="204266"/>
                    <a:pt x="173876" y="210976"/>
                    <a:pt x="165977" y="206821"/>
                  </a:cubicBezTo>
                  <a:lnTo>
                    <a:pt x="131024" y="188446"/>
                  </a:lnTo>
                  <a:lnTo>
                    <a:pt x="96073" y="206821"/>
                  </a:lnTo>
                  <a:cubicBezTo>
                    <a:pt x="88172" y="210976"/>
                    <a:pt x="78938" y="204266"/>
                    <a:pt x="80447" y="195469"/>
                  </a:cubicBezTo>
                  <a:lnTo>
                    <a:pt x="87122" y="156549"/>
                  </a:lnTo>
                  <a:lnTo>
                    <a:pt x="58846" y="128986"/>
                  </a:lnTo>
                  <a:cubicBezTo>
                    <a:pt x="52454" y="122757"/>
                    <a:pt x="55981" y="111902"/>
                    <a:pt x="64815" y="110618"/>
                  </a:cubicBezTo>
                  <a:lnTo>
                    <a:pt x="103892" y="104940"/>
                  </a:lnTo>
                  <a:close/>
                  <a:moveTo>
                    <a:pt x="120701" y="119549"/>
                  </a:moveTo>
                  <a:cubicBezTo>
                    <a:pt x="119132" y="122728"/>
                    <a:pt x="116100" y="124931"/>
                    <a:pt x="112592" y="125440"/>
                  </a:cubicBezTo>
                  <a:lnTo>
                    <a:pt x="89506" y="128794"/>
                  </a:lnTo>
                  <a:lnTo>
                    <a:pt x="106211" y="145078"/>
                  </a:lnTo>
                  <a:cubicBezTo>
                    <a:pt x="108748" y="147552"/>
                    <a:pt x="109908" y="151118"/>
                    <a:pt x="109307" y="154610"/>
                  </a:cubicBezTo>
                  <a:lnTo>
                    <a:pt x="105364" y="177604"/>
                  </a:lnTo>
                  <a:lnTo>
                    <a:pt x="126013" y="166747"/>
                  </a:lnTo>
                  <a:cubicBezTo>
                    <a:pt x="129150" y="165098"/>
                    <a:pt x="132898" y="165098"/>
                    <a:pt x="136036" y="166747"/>
                  </a:cubicBezTo>
                  <a:lnTo>
                    <a:pt x="156684" y="177604"/>
                  </a:lnTo>
                  <a:lnTo>
                    <a:pt x="152741" y="154610"/>
                  </a:lnTo>
                  <a:cubicBezTo>
                    <a:pt x="152142" y="151118"/>
                    <a:pt x="153300" y="147552"/>
                    <a:pt x="155838" y="145078"/>
                  </a:cubicBezTo>
                  <a:lnTo>
                    <a:pt x="172544" y="128794"/>
                  </a:lnTo>
                  <a:lnTo>
                    <a:pt x="149458" y="125440"/>
                  </a:lnTo>
                  <a:cubicBezTo>
                    <a:pt x="145950" y="124931"/>
                    <a:pt x="142918" y="122728"/>
                    <a:pt x="141349" y="119549"/>
                  </a:cubicBezTo>
                  <a:lnTo>
                    <a:pt x="131024" y="98630"/>
                  </a:lnTo>
                  <a:lnTo>
                    <a:pt x="120701" y="119549"/>
                  </a:lnTo>
                  <a:close/>
                  <a:moveTo>
                    <a:pt x="39704" y="0"/>
                  </a:moveTo>
                  <a:cubicBezTo>
                    <a:pt x="17776" y="0"/>
                    <a:pt x="0" y="17776"/>
                    <a:pt x="0" y="39704"/>
                  </a:cubicBezTo>
                  <a:lnTo>
                    <a:pt x="0" y="277930"/>
                  </a:lnTo>
                  <a:cubicBezTo>
                    <a:pt x="0" y="299858"/>
                    <a:pt x="17776" y="317634"/>
                    <a:pt x="39704" y="317634"/>
                  </a:cubicBezTo>
                  <a:lnTo>
                    <a:pt x="250137" y="317634"/>
                  </a:lnTo>
                  <a:cubicBezTo>
                    <a:pt x="256715" y="317634"/>
                    <a:pt x="262048" y="312301"/>
                    <a:pt x="262048" y="305723"/>
                  </a:cubicBezTo>
                  <a:cubicBezTo>
                    <a:pt x="262048" y="299145"/>
                    <a:pt x="256715" y="293812"/>
                    <a:pt x="250137" y="293812"/>
                  </a:cubicBezTo>
                  <a:lnTo>
                    <a:pt x="39704" y="293812"/>
                  </a:lnTo>
                  <a:cubicBezTo>
                    <a:pt x="30933" y="293812"/>
                    <a:pt x="23823" y="286701"/>
                    <a:pt x="23823" y="277930"/>
                  </a:cubicBezTo>
                  <a:lnTo>
                    <a:pt x="250137" y="277930"/>
                  </a:lnTo>
                  <a:cubicBezTo>
                    <a:pt x="256715" y="277930"/>
                    <a:pt x="262048" y="272597"/>
                    <a:pt x="262048" y="266019"/>
                  </a:cubicBezTo>
                  <a:lnTo>
                    <a:pt x="262048" y="39704"/>
                  </a:lnTo>
                  <a:cubicBezTo>
                    <a:pt x="262048" y="17776"/>
                    <a:pt x="244272" y="0"/>
                    <a:pt x="222344" y="0"/>
                  </a:cubicBezTo>
                  <a:lnTo>
                    <a:pt x="39704" y="0"/>
                  </a:lnTo>
                  <a:close/>
                  <a:moveTo>
                    <a:pt x="238226" y="254107"/>
                  </a:moveTo>
                  <a:lnTo>
                    <a:pt x="23823" y="254107"/>
                  </a:lnTo>
                  <a:lnTo>
                    <a:pt x="23823" y="39704"/>
                  </a:lnTo>
                  <a:cubicBezTo>
                    <a:pt x="23823" y="30933"/>
                    <a:pt x="30933" y="23823"/>
                    <a:pt x="39704" y="23823"/>
                  </a:cubicBezTo>
                  <a:lnTo>
                    <a:pt x="222344" y="23823"/>
                  </a:lnTo>
                  <a:cubicBezTo>
                    <a:pt x="231115" y="23823"/>
                    <a:pt x="238226" y="30933"/>
                    <a:pt x="238226" y="39704"/>
                  </a:cubicBezTo>
                  <a:lnTo>
                    <a:pt x="238226" y="254107"/>
                  </a:ln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sp>
        <p:nvSpPr>
          <p:cNvPr id="3" name="Title 2">
            <a:extLst>
              <a:ext uri="{FF2B5EF4-FFF2-40B4-BE49-F238E27FC236}">
                <a16:creationId xmlns:a16="http://schemas.microsoft.com/office/drawing/2014/main" id="{5D1C98F0-C53A-7B11-E031-B8A16122B252}"/>
              </a:ext>
            </a:extLst>
          </p:cNvPr>
          <p:cNvSpPr>
            <a:spLocks noGrp="1"/>
          </p:cNvSpPr>
          <p:nvPr>
            <p:ph type="title"/>
          </p:nvPr>
        </p:nvSpPr>
        <p:spPr>
          <a:xfrm>
            <a:off x="511175" y="574675"/>
            <a:ext cx="11185525" cy="498475"/>
          </a:xfrm>
        </p:spPr>
        <p:txBody>
          <a:bodyPr/>
          <a:lstStyle/>
          <a:p>
            <a:r>
              <a:rPr lang="en-US"/>
              <a:t>Agent Hackathon objectives </a:t>
            </a:r>
          </a:p>
        </p:txBody>
      </p:sp>
      <p:sp>
        <p:nvSpPr>
          <p:cNvPr id="15" name="TextBox 7, chunk 1, chunk 1">
            <a:extLst>
              <a:ext uri="{FF2B5EF4-FFF2-40B4-BE49-F238E27FC236}">
                <a16:creationId xmlns:a16="http://schemas.microsoft.com/office/drawing/2014/main" id="{6D67D9D0-A69A-D0F0-82E6-AE2884BBFF51}"/>
              </a:ext>
            </a:extLst>
          </p:cNvPr>
          <p:cNvSpPr txBox="1"/>
          <p:nvPr/>
        </p:nvSpPr>
        <p:spPr>
          <a:xfrm>
            <a:off x="1522748" y="1673775"/>
            <a:ext cx="5817852" cy="830997"/>
          </a:xfrm>
          <a:prstGeom prst="rect">
            <a:avLst/>
          </a:prstGeom>
          <a:noFill/>
        </p:spPr>
        <p:txBody>
          <a:bodyPr wrap="square" lIns="0" tIns="0" rIns="0" bIns="0" numCol="1" rtlCol="0" anchor="ctr">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effectLst/>
                <a:uLnTx/>
                <a:uFillTx/>
                <a:latin typeface="Segoe UI"/>
                <a:ea typeface="+mn-ea"/>
                <a:cs typeface="+mn-cs"/>
              </a:rPr>
              <a:t>Showcase the possibilities for realizing business value and highlight opportunities for </a:t>
            </a:r>
            <a:r>
              <a:rPr kumimoji="0" lang="en-US" sz="1800" b="0" i="0" u="none" strike="noStrike" kern="0" cap="none" spc="0" normalizeH="0" baseline="0" noProof="0">
                <a:ln>
                  <a:noFill/>
                </a:ln>
                <a:solidFill>
                  <a:srgbClr val="0078D4"/>
                </a:solidFill>
                <a:effectLst/>
                <a:uLnTx/>
                <a:uFillTx/>
                <a:latin typeface="Segoe UI Semibold"/>
                <a:ea typeface="+mn-ea"/>
                <a:cs typeface="+mn-cs"/>
              </a:rPr>
              <a:t>transformative experiences with agents</a:t>
            </a:r>
            <a:r>
              <a:rPr lang="en-US" sz="1800">
                <a:solidFill>
                  <a:srgbClr val="0078D4"/>
                </a:solidFill>
                <a:latin typeface="Segoe UI Semibold"/>
              </a:rPr>
              <a:t>.</a:t>
            </a:r>
            <a:endParaRPr kumimoji="0" lang="en-US" sz="1800" b="0" i="0" u="none" strike="noStrike" kern="0" cap="none" spc="0" normalizeH="0" baseline="0" noProof="0">
              <a:ln>
                <a:noFill/>
              </a:ln>
              <a:solidFill>
                <a:srgbClr val="0078D4"/>
              </a:solidFill>
              <a:effectLst/>
              <a:uLnTx/>
              <a:uFillTx/>
              <a:latin typeface="Segoe UI Semibold"/>
              <a:ea typeface="+mn-ea"/>
              <a:cs typeface="+mn-cs"/>
            </a:endParaRPr>
          </a:p>
        </p:txBody>
      </p:sp>
      <p:sp>
        <p:nvSpPr>
          <p:cNvPr id="18" name="TextBox 7, chunk 1, chunk 1">
            <a:extLst>
              <a:ext uri="{FF2B5EF4-FFF2-40B4-BE49-F238E27FC236}">
                <a16:creationId xmlns:a16="http://schemas.microsoft.com/office/drawing/2014/main" id="{B21729E6-FFCE-452B-076F-50D3E78ABF33}"/>
              </a:ext>
            </a:extLst>
          </p:cNvPr>
          <p:cNvSpPr txBox="1"/>
          <p:nvPr/>
        </p:nvSpPr>
        <p:spPr>
          <a:xfrm>
            <a:off x="1522748" y="3185730"/>
            <a:ext cx="5817852" cy="1107996"/>
          </a:xfrm>
          <a:prstGeom prst="rect">
            <a:avLst/>
          </a:prstGeom>
          <a:noFill/>
        </p:spPr>
        <p:txBody>
          <a:bodyPr wrap="square" lIns="0" tIns="0" rIns="0" bIns="0" numCol="1" rtlCol="0" anchor="ctr">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a:defRPr/>
            </a:pPr>
            <a:r>
              <a:rPr kumimoji="0" lang="en-US" sz="1800" b="0" i="0" u="none" strike="noStrike" kern="0" cap="none" spc="0" normalizeH="0" baseline="0" noProof="0">
                <a:ln>
                  <a:noFill/>
                </a:ln>
                <a:effectLst/>
                <a:uLnTx/>
                <a:uFillTx/>
                <a:latin typeface="Segoe UI"/>
                <a:ea typeface="+mn-ea"/>
                <a:cs typeface="+mn-cs"/>
              </a:rPr>
              <a:t>Drive an understanding of the powerful </a:t>
            </a:r>
            <a:r>
              <a:rPr kumimoji="0" lang="en-US" sz="1800" b="0" i="0" u="none" strike="noStrike" kern="0" cap="none" spc="0" normalizeH="0" baseline="0" noProof="0">
                <a:ln>
                  <a:noFill/>
                </a:ln>
                <a:solidFill>
                  <a:srgbClr val="0078D4"/>
                </a:solidFill>
                <a:effectLst/>
                <a:uLnTx/>
                <a:uFillTx/>
                <a:latin typeface="Segoe UI Semibold"/>
                <a:ea typeface="+mn-ea"/>
                <a:cs typeface="+mn-cs"/>
              </a:rPr>
              <a:t>capabilities of </a:t>
            </a:r>
            <a:r>
              <a:rPr lang="en-US" sz="1800">
                <a:solidFill>
                  <a:srgbClr val="0078D4"/>
                </a:solidFill>
                <a:latin typeface="Segoe UI Semibold"/>
              </a:rPr>
              <a:t>Agent Builder </a:t>
            </a:r>
            <a:r>
              <a:rPr kumimoji="0" lang="en-US" sz="1800" b="0" i="0" u="none" strike="noStrike" kern="0" cap="none" spc="0" normalizeH="0" baseline="0" noProof="0">
                <a:ln>
                  <a:noFill/>
                </a:ln>
                <a:solidFill>
                  <a:srgbClr val="0078D4"/>
                </a:solidFill>
                <a:effectLst/>
                <a:uLnTx/>
                <a:uFillTx/>
                <a:latin typeface="Segoe UI Semibold"/>
                <a:ea typeface="+mn-ea"/>
                <a:cs typeface="+mn-cs"/>
              </a:rPr>
              <a:t>experience</a:t>
            </a:r>
            <a:r>
              <a:rPr kumimoji="0" lang="en-US" sz="1800" b="0" i="0" u="none" strike="noStrike" kern="0" cap="none" spc="0" normalizeH="0" baseline="0" noProof="0">
                <a:ln>
                  <a:noFill/>
                </a:ln>
                <a:effectLst/>
                <a:uLnTx/>
                <a:uFillTx/>
                <a:latin typeface="Segoe UI"/>
                <a:ea typeface="+mn-ea"/>
                <a:cs typeface="+mn-cs"/>
              </a:rPr>
              <a:t>, influencing the organization’s intent to utilize Copilot Studio capabilities and drive agent adoption</a:t>
            </a:r>
          </a:p>
        </p:txBody>
      </p:sp>
      <p:sp>
        <p:nvSpPr>
          <p:cNvPr id="24" name="TextBox 7, chunk 1, chunk 1">
            <a:extLst>
              <a:ext uri="{FF2B5EF4-FFF2-40B4-BE49-F238E27FC236}">
                <a16:creationId xmlns:a16="http://schemas.microsoft.com/office/drawing/2014/main" id="{706DCD4A-66B5-6C8A-E3A2-768BCCE5230E}"/>
              </a:ext>
            </a:extLst>
          </p:cNvPr>
          <p:cNvSpPr txBox="1"/>
          <p:nvPr/>
        </p:nvSpPr>
        <p:spPr>
          <a:xfrm>
            <a:off x="1522748" y="4930303"/>
            <a:ext cx="5817852" cy="830997"/>
          </a:xfrm>
          <a:prstGeom prst="rect">
            <a:avLst/>
          </a:prstGeom>
          <a:noFill/>
        </p:spPr>
        <p:txBody>
          <a:bodyPr wrap="square" lIns="0" tIns="0" rIns="0" bIns="0" numCol="1" rtlCol="0" anchor="ctr">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effectLst/>
                <a:uLnTx/>
                <a:uFillTx/>
                <a:latin typeface="Segoe UI"/>
                <a:ea typeface="+mn-ea"/>
                <a:cs typeface="+mn-cs"/>
              </a:rPr>
              <a:t>As an outcome of this event, participants leave with </a:t>
            </a:r>
            <a:r>
              <a:rPr kumimoji="0" lang="en-US" sz="1800" b="0" i="0" u="none" strike="noStrike" kern="0" cap="none" spc="0" normalizeH="0" baseline="0" noProof="0">
                <a:ln>
                  <a:noFill/>
                </a:ln>
                <a:solidFill>
                  <a:srgbClr val="0078D4"/>
                </a:solidFill>
                <a:effectLst/>
                <a:uLnTx/>
                <a:uFillTx/>
                <a:latin typeface="Segoe UI Semibold"/>
                <a:ea typeface="+mn-ea"/>
                <a:cs typeface="+mn-cs"/>
              </a:rPr>
              <a:t>actionable use cases </a:t>
            </a:r>
            <a:r>
              <a:rPr kumimoji="0" lang="en-US" sz="1800" b="0" i="0" u="none" strike="noStrike" kern="0" cap="none" spc="0" normalizeH="0" baseline="0" noProof="0">
                <a:ln>
                  <a:noFill/>
                </a:ln>
                <a:effectLst/>
                <a:uLnTx/>
                <a:uFillTx/>
                <a:latin typeface="Segoe UI"/>
                <a:ea typeface="+mn-ea"/>
                <a:cs typeface="+mn-cs"/>
              </a:rPr>
              <a:t>and the ability to articulate and advocate for agent adoption. </a:t>
            </a:r>
            <a:endParaRPr lang="en-US" sz="1800" b="0" i="0" u="none" strike="noStrike" kern="0" cap="none" spc="0" normalizeH="0" baseline="0" noProof="0">
              <a:ln>
                <a:noFill/>
              </a:ln>
              <a:effectLst/>
              <a:uLnTx/>
              <a:uFillTx/>
              <a:latin typeface="Segoe UI"/>
              <a:cs typeface="Segoe UI"/>
            </a:endParaRPr>
          </a:p>
        </p:txBody>
      </p:sp>
      <p:pic>
        <p:nvPicPr>
          <p:cNvPr id="4" name="Picture 3">
            <a:extLst>
              <a:ext uri="{FF2B5EF4-FFF2-40B4-BE49-F238E27FC236}">
                <a16:creationId xmlns:a16="http://schemas.microsoft.com/office/drawing/2014/main" id="{DA63EB20-78F6-7C5B-67AF-9B1997247A6A}"/>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t="23069" b="23069"/>
          <a:stretch>
            <a:fillRect/>
          </a:stretch>
        </p:blipFill>
        <p:spPr>
          <a:xfrm>
            <a:off x="7897951" y="4934790"/>
            <a:ext cx="3546198" cy="1074420"/>
          </a:xfrm>
          <a:prstGeom prst="roundRect">
            <a:avLst>
              <a:gd name="adj" fmla="val 13121"/>
            </a:avLst>
          </a:prstGeom>
          <a:ln>
            <a:noFill/>
          </a:ln>
        </p:spPr>
      </p:pic>
      <p:sp>
        <p:nvSpPr>
          <p:cNvPr id="7" name="TextBox 6">
            <a:extLst>
              <a:ext uri="{FF2B5EF4-FFF2-40B4-BE49-F238E27FC236}">
                <a16:creationId xmlns:a16="http://schemas.microsoft.com/office/drawing/2014/main" id="{E2FA6037-1035-E9EE-46CE-3945D9BC9FAE}"/>
              </a:ext>
            </a:extLst>
          </p:cNvPr>
          <p:cNvSpPr txBox="1"/>
          <p:nvPr/>
        </p:nvSpPr>
        <p:spPr>
          <a:xfrm>
            <a:off x="7897951" y="2896124"/>
            <a:ext cx="3546198" cy="365760"/>
          </a:xfrm>
          <a:prstGeom prst="roundRect">
            <a:avLst>
              <a:gd name="adj" fmla="val 50000"/>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solidFill>
                  <a:schemeClr val="bg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Tools</a:t>
            </a:r>
          </a:p>
        </p:txBody>
      </p:sp>
      <p:sp>
        <p:nvSpPr>
          <p:cNvPr id="8" name="TextBox 7, chunk 1, chunk 1">
            <a:extLst>
              <a:ext uri="{FF2B5EF4-FFF2-40B4-BE49-F238E27FC236}">
                <a16:creationId xmlns:a16="http://schemas.microsoft.com/office/drawing/2014/main" id="{A2621E74-DDD6-34F2-73E0-D19F8C28DF30}"/>
              </a:ext>
            </a:extLst>
          </p:cNvPr>
          <p:cNvSpPr txBox="1"/>
          <p:nvPr/>
        </p:nvSpPr>
        <p:spPr>
          <a:xfrm>
            <a:off x="8104187" y="3474878"/>
            <a:ext cx="3133726" cy="1215717"/>
          </a:xfrm>
          <a:prstGeom prst="rect">
            <a:avLst/>
          </a:prstGeom>
          <a:noFill/>
        </p:spPr>
        <p:txBody>
          <a:bodyPr wrap="square" lIns="0" tIns="0" rIns="0" bIns="0" numCol="1" rtlCol="0" anchor="t">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180975"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solidFill>
                  <a:prstClr val="black"/>
                </a:solidFill>
                <a:effectLst/>
                <a:uLnTx/>
                <a:uFillTx/>
                <a:latin typeface="Segoe UI"/>
                <a:ea typeface="+mn-ea"/>
                <a:cs typeface="+mn-cs"/>
              </a:rPr>
              <a:t>Microsoft 365 Copilot</a:t>
            </a:r>
          </a:p>
          <a:p>
            <a:pPr marL="180975"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solidFill>
                  <a:prstClr val="black"/>
                </a:solidFill>
                <a:effectLst/>
                <a:uLnTx/>
                <a:uFillTx/>
                <a:latin typeface="Segoe UI"/>
                <a:ea typeface="+mn-ea"/>
                <a:cs typeface="+mn-cs"/>
              </a:rPr>
              <a:t>Researcher agent</a:t>
            </a:r>
          </a:p>
          <a:p>
            <a:pPr marL="180975" indent="-180975">
              <a:spcAft>
                <a:spcPts val="600"/>
              </a:spcAft>
              <a:buFont typeface="Arial" panose="020B0604020202020204" pitchFamily="34" charset="0"/>
              <a:buChar char="•"/>
              <a:defRPr/>
            </a:pPr>
            <a:r>
              <a:rPr lang="en-US" sz="1600">
                <a:solidFill>
                  <a:schemeClr val="tx1"/>
                </a:solidFill>
              </a:rPr>
              <a:t>Agent Builder exp</a:t>
            </a:r>
            <a:r>
              <a:rPr lang="en-US" sz="1600">
                <a:solidFill>
                  <a:srgbClr val="000000"/>
                </a:solidFill>
              </a:rPr>
              <a:t>erience</a:t>
            </a:r>
            <a:endParaRPr lang="en-US" sz="1600" b="0" i="0" u="none" strike="noStrike" kern="0" cap="none" spc="0" normalizeH="0" baseline="0" noProof="0">
              <a:ln>
                <a:noFill/>
              </a:ln>
              <a:effectLst/>
              <a:uLnTx/>
              <a:uFillTx/>
              <a:latin typeface="Segoe UI"/>
              <a:cs typeface="Segoe UI"/>
            </a:endParaRPr>
          </a:p>
          <a:p>
            <a:pPr marL="180975"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solidFill>
                  <a:prstClr val="black"/>
                </a:solidFill>
                <a:effectLst/>
                <a:uLnTx/>
                <a:uFillTx/>
                <a:latin typeface="Segoe UI"/>
                <a:ea typeface="+mn-ea"/>
                <a:cs typeface="+mn-cs"/>
              </a:rPr>
              <a:t>Create in Copilot</a:t>
            </a:r>
          </a:p>
        </p:txBody>
      </p:sp>
      <p:grpSp>
        <p:nvGrpSpPr>
          <p:cNvPr id="12" name="Group 11">
            <a:extLst>
              <a:ext uri="{FF2B5EF4-FFF2-40B4-BE49-F238E27FC236}">
                <a16:creationId xmlns:a16="http://schemas.microsoft.com/office/drawing/2014/main" id="{875162E9-8784-E8D6-45AB-E76CD585C5BB}"/>
              </a:ext>
              <a:ext uri="{C183D7F6-B498-43B3-948B-1728B52AA6E4}">
                <adec:decorative xmlns:adec="http://schemas.microsoft.com/office/drawing/2017/decorative" val="1"/>
              </a:ext>
            </a:extLst>
          </p:cNvPr>
          <p:cNvGrpSpPr/>
          <p:nvPr/>
        </p:nvGrpSpPr>
        <p:grpSpPr>
          <a:xfrm>
            <a:off x="11111380" y="2941983"/>
            <a:ext cx="291166" cy="291166"/>
            <a:chOff x="11111380" y="3233084"/>
            <a:chExt cx="291166" cy="291166"/>
          </a:xfrm>
        </p:grpSpPr>
        <p:sp>
          <p:nvSpPr>
            <p:cNvPr id="19" name="Oval 18">
              <a:extLst>
                <a:ext uri="{FF2B5EF4-FFF2-40B4-BE49-F238E27FC236}">
                  <a16:creationId xmlns:a16="http://schemas.microsoft.com/office/drawing/2014/main" id="{52C076A2-5C39-B301-A9F3-206A52A2DC12}"/>
                </a:ext>
              </a:extLst>
            </p:cNvPr>
            <p:cNvSpPr/>
            <p:nvPr/>
          </p:nvSpPr>
          <p:spPr>
            <a:xfrm>
              <a:off x="11111380" y="3233084"/>
              <a:ext cx="291166" cy="29116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 name="Graphic 2" descr="Icon of a gear">
              <a:extLst>
                <a:ext uri="{FF2B5EF4-FFF2-40B4-BE49-F238E27FC236}">
                  <a16:creationId xmlns:a16="http://schemas.microsoft.com/office/drawing/2014/main" id="{B3184C79-2FAF-1DD9-8ACD-261B98E42545}"/>
                </a:ext>
              </a:extLst>
            </p:cNvPr>
            <p:cNvSpPr/>
            <p:nvPr/>
          </p:nvSpPr>
          <p:spPr>
            <a:xfrm>
              <a:off x="11148352" y="3270056"/>
              <a:ext cx="217222" cy="217222"/>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0 w 178348"/>
                <a:gd name="connsiteY3" fmla="*/ 23136 h 185732"/>
                <a:gd name="connsiteX4" fmla="*/ 131782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7 w 178348"/>
                <a:gd name="connsiteY23" fmla="*/ 177108 h 185732"/>
                <a:gd name="connsiteX24" fmla="*/ 61137 w 178348"/>
                <a:gd name="connsiteY24" fmla="*/ 162592 h 185732"/>
                <a:gd name="connsiteX25" fmla="*/ 46567 w 178348"/>
                <a:gd name="connsiteY25" fmla="*/ 151005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7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274 w 178348"/>
                <a:gd name="connsiteY44" fmla="*/ 14288 h 185732"/>
                <a:gd name="connsiteX45" fmla="*/ 76377 w 178348"/>
                <a:gd name="connsiteY45" fmla="*/ 15402 h 185732"/>
                <a:gd name="connsiteX46" fmla="*/ 75339 w 178348"/>
                <a:gd name="connsiteY46" fmla="*/ 24708 h 185732"/>
                <a:gd name="connsiteX47" fmla="*/ 44984 w 178348"/>
                <a:gd name="connsiteY47" fmla="*/ 48995 h 185732"/>
                <a:gd name="connsiteX48" fmla="*/ 37010 w 178348"/>
                <a:gd name="connsiteY48" fmla="*/ 46863 h 185732"/>
                <a:gd name="connsiteX49" fmla="*/ 28457 w 178348"/>
                <a:gd name="connsiteY49" fmla="*/ 43110 h 185732"/>
                <a:gd name="connsiteX50" fmla="*/ 15617 w 178348"/>
                <a:gd name="connsiteY50" fmla="*/ 65180 h 185732"/>
                <a:gd name="connsiteX51" fmla="*/ 23218 w 178348"/>
                <a:gd name="connsiteY51" fmla="*/ 70771 h 185732"/>
                <a:gd name="connsiteX52" fmla="*/ 29080 w 178348"/>
                <a:gd name="connsiteY52" fmla="*/ 109134 h 185732"/>
                <a:gd name="connsiteX53" fmla="*/ 23218 w 178348"/>
                <a:gd name="connsiteY53" fmla="*/ 114995 h 185732"/>
                <a:gd name="connsiteX54" fmla="*/ 15608 w 178348"/>
                <a:gd name="connsiteY54" fmla="*/ 120596 h 185732"/>
                <a:gd name="connsiteX55" fmla="*/ 28447 w 178348"/>
                <a:gd name="connsiteY55" fmla="*/ 142713 h 185732"/>
                <a:gd name="connsiteX56" fmla="*/ 37068 w 178348"/>
                <a:gd name="connsiteY56" fmla="*/ 138932 h 185732"/>
                <a:gd name="connsiteX57" fmla="*/ 73209 w 178348"/>
                <a:gd name="connsiteY57" fmla="*/ 153105 h 185732"/>
                <a:gd name="connsiteX58" fmla="*/ 75330 w 178348"/>
                <a:gd name="connsiteY58" fmla="*/ 161011 h 185732"/>
                <a:gd name="connsiteX59" fmla="*/ 76377 w 178348"/>
                <a:gd name="connsiteY59" fmla="*/ 170383 h 185732"/>
                <a:gd name="connsiteX60" fmla="*/ 101971 w 178348"/>
                <a:gd name="connsiteY60" fmla="*/ 170383 h 185732"/>
                <a:gd name="connsiteX61" fmla="*/ 103019 w 178348"/>
                <a:gd name="connsiteY61" fmla="*/ 161011 h 185732"/>
                <a:gd name="connsiteX62" fmla="*/ 133318 w 178348"/>
                <a:gd name="connsiteY62" fmla="*/ 136761 h 185732"/>
                <a:gd name="connsiteX63" fmla="*/ 141290 w 178348"/>
                <a:gd name="connsiteY63" fmla="*/ 138894 h 185732"/>
                <a:gd name="connsiteX64" fmla="*/ 149910 w 178348"/>
                <a:gd name="connsiteY64" fmla="*/ 142665 h 185732"/>
                <a:gd name="connsiteX65" fmla="*/ 162740 w 178348"/>
                <a:gd name="connsiteY65" fmla="*/ 120587 h 185732"/>
                <a:gd name="connsiteX66" fmla="*/ 155140 w 178348"/>
                <a:gd name="connsiteY66" fmla="*/ 114986 h 185732"/>
                <a:gd name="connsiteX67" fmla="*/ 149278 w 178348"/>
                <a:gd name="connsiteY67" fmla="*/ 76623 h 185732"/>
                <a:gd name="connsiteX68" fmla="*/ 155140 w 178348"/>
                <a:gd name="connsiteY68" fmla="*/ 70761 h 185732"/>
                <a:gd name="connsiteX69" fmla="*/ 162721 w 178348"/>
                <a:gd name="connsiteY69" fmla="*/ 65170 h 185732"/>
                <a:gd name="connsiteX70" fmla="*/ 149882 w 178348"/>
                <a:gd name="connsiteY70" fmla="*/ 43101 h 185732"/>
                <a:gd name="connsiteX71" fmla="*/ 141347 w 178348"/>
                <a:gd name="connsiteY71" fmla="*/ 46844 h 185732"/>
                <a:gd name="connsiteX72" fmla="*/ 105167 w 178348"/>
                <a:gd name="connsiteY72" fmla="*/ 32696 h 185732"/>
                <a:gd name="connsiteX73" fmla="*/ 103028 w 178348"/>
                <a:gd name="connsiteY73" fmla="*/ 24708 h 185732"/>
                <a:gd name="connsiteX74" fmla="*/ 101980 w 178348"/>
                <a:gd name="connsiteY74" fmla="*/ 15411 h 185732"/>
                <a:gd name="connsiteX75" fmla="*/ 89284 w 178348"/>
                <a:gd name="connsiteY75" fmla="*/ 14297 h 185732"/>
                <a:gd name="connsiteX76" fmla="*/ 89160 w 178348"/>
                <a:gd name="connsiteY76" fmla="*/ 57150 h 185732"/>
                <a:gd name="connsiteX77" fmla="*/ 124879 w 178348"/>
                <a:gd name="connsiteY77" fmla="*/ 92869 h 185732"/>
                <a:gd name="connsiteX78" fmla="*/ 89160 w 178348"/>
                <a:gd name="connsiteY78" fmla="*/ 128588 h 185732"/>
                <a:gd name="connsiteX79" fmla="*/ 53441 w 178348"/>
                <a:gd name="connsiteY79" fmla="*/ 92869 h 185732"/>
                <a:gd name="connsiteX80" fmla="*/ 89160 w 178348"/>
                <a:gd name="connsiteY80" fmla="*/ 57150 h 185732"/>
                <a:gd name="connsiteX81" fmla="*/ 89160 w 178348"/>
                <a:gd name="connsiteY81" fmla="*/ 71438 h 185732"/>
                <a:gd name="connsiteX82" fmla="*/ 67729 w 178348"/>
                <a:gd name="connsiteY82" fmla="*/ 92869 h 185732"/>
                <a:gd name="connsiteX83" fmla="*/ 89160 w 178348"/>
                <a:gd name="connsiteY83" fmla="*/ 114300 h 185732"/>
                <a:gd name="connsiteX84" fmla="*/ 110591 w 178348"/>
                <a:gd name="connsiteY84" fmla="*/ 92869 h 185732"/>
                <a:gd name="connsiteX85" fmla="*/ 89160 w 178348"/>
                <a:gd name="connsiteY85" fmla="*/ 71438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8" h="185732">
                  <a:moveTo>
                    <a:pt x="89274" y="0"/>
                  </a:moveTo>
                  <a:cubicBezTo>
                    <a:pt x="96265" y="76"/>
                    <a:pt x="103228" y="886"/>
                    <a:pt x="110058" y="2410"/>
                  </a:cubicBezTo>
                  <a:cubicBezTo>
                    <a:pt x="113036" y="3075"/>
                    <a:pt x="115263" y="5558"/>
                    <a:pt x="115601" y="8592"/>
                  </a:cubicBezTo>
                  <a:lnTo>
                    <a:pt x="117220" y="23136"/>
                  </a:lnTo>
                  <a:cubicBezTo>
                    <a:pt x="118027" y="30372"/>
                    <a:pt x="124547" y="35584"/>
                    <a:pt x="131782" y="34777"/>
                  </a:cubicBezTo>
                  <a:cubicBezTo>
                    <a:pt x="133090" y="34631"/>
                    <a:pt x="134368" y="34290"/>
                    <a:pt x="135575" y="33766"/>
                  </a:cubicBezTo>
                  <a:lnTo>
                    <a:pt x="148920" y="27908"/>
                  </a:lnTo>
                  <a:cubicBezTo>
                    <a:pt x="151696" y="26685"/>
                    <a:pt x="154943" y="27350"/>
                    <a:pt x="157016" y="29566"/>
                  </a:cubicBezTo>
                  <a:cubicBezTo>
                    <a:pt x="166654" y="39863"/>
                    <a:pt x="173832" y="52212"/>
                    <a:pt x="178009" y="65684"/>
                  </a:cubicBezTo>
                  <a:cubicBezTo>
                    <a:pt x="178906" y="68586"/>
                    <a:pt x="177871" y="71738"/>
                    <a:pt x="175428" y="73543"/>
                  </a:cubicBezTo>
                  <a:lnTo>
                    <a:pt x="163598" y="82267"/>
                  </a:lnTo>
                  <a:cubicBezTo>
                    <a:pt x="157743" y="86568"/>
                    <a:pt x="156483" y="94801"/>
                    <a:pt x="160784" y="100656"/>
                  </a:cubicBezTo>
                  <a:cubicBezTo>
                    <a:pt x="161574" y="101731"/>
                    <a:pt x="162522" y="102680"/>
                    <a:pt x="163598" y="103470"/>
                  </a:cubicBezTo>
                  <a:lnTo>
                    <a:pt x="175437" y="112185"/>
                  </a:lnTo>
                  <a:cubicBezTo>
                    <a:pt x="177888" y="113989"/>
                    <a:pt x="178928" y="117146"/>
                    <a:pt x="178028" y="120053"/>
                  </a:cubicBezTo>
                  <a:cubicBezTo>
                    <a:pt x="173849" y="133524"/>
                    <a:pt x="166672" y="145873"/>
                    <a:pt x="157035" y="156172"/>
                  </a:cubicBezTo>
                  <a:cubicBezTo>
                    <a:pt x="154967" y="158383"/>
                    <a:pt x="151731" y="159050"/>
                    <a:pt x="148958" y="157839"/>
                  </a:cubicBezTo>
                  <a:lnTo>
                    <a:pt x="135556" y="151962"/>
                  </a:lnTo>
                  <a:cubicBezTo>
                    <a:pt x="128908" y="149046"/>
                    <a:pt x="121154" y="152073"/>
                    <a:pt x="118240" y="158722"/>
                  </a:cubicBezTo>
                  <a:cubicBezTo>
                    <a:pt x="117703" y="159946"/>
                    <a:pt x="117356" y="161244"/>
                    <a:pt x="117211" y="162573"/>
                  </a:cubicBezTo>
                  <a:lnTo>
                    <a:pt x="115601" y="177108"/>
                  </a:lnTo>
                  <a:cubicBezTo>
                    <a:pt x="115269" y="180106"/>
                    <a:pt x="113089" y="182573"/>
                    <a:pt x="110153" y="183271"/>
                  </a:cubicBezTo>
                  <a:cubicBezTo>
                    <a:pt x="96356" y="186553"/>
                    <a:pt x="81983" y="186553"/>
                    <a:pt x="68186" y="183271"/>
                  </a:cubicBezTo>
                  <a:cubicBezTo>
                    <a:pt x="65251" y="182573"/>
                    <a:pt x="63070" y="180106"/>
                    <a:pt x="62737" y="177108"/>
                  </a:cubicBezTo>
                  <a:lnTo>
                    <a:pt x="61137" y="162592"/>
                  </a:lnTo>
                  <a:cubicBezTo>
                    <a:pt x="60314" y="155369"/>
                    <a:pt x="53790" y="150181"/>
                    <a:pt x="46567" y="151005"/>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5" y="99178"/>
                    <a:pt x="21873" y="90952"/>
                    <a:pt x="17581" y="85097"/>
                  </a:cubicBezTo>
                  <a:cubicBezTo>
                    <a:pt x="16787" y="84015"/>
                    <a:pt x="15833" y="83061"/>
                    <a:pt x="14751" y="82267"/>
                  </a:cubicBezTo>
                  <a:lnTo>
                    <a:pt x="2911" y="73562"/>
                  </a:lnTo>
                  <a:cubicBezTo>
                    <a:pt x="463" y="71756"/>
                    <a:pt x="-573"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274" y="14288"/>
                  </a:moveTo>
                  <a:cubicBezTo>
                    <a:pt x="84954" y="14338"/>
                    <a:pt x="80643" y="14711"/>
                    <a:pt x="76377" y="15402"/>
                  </a:cubicBezTo>
                  <a:lnTo>
                    <a:pt x="75339" y="24708"/>
                  </a:lnTo>
                  <a:cubicBezTo>
                    <a:pt x="73664" y="39797"/>
                    <a:pt x="60073" y="50671"/>
                    <a:pt x="44984" y="48995"/>
                  </a:cubicBezTo>
                  <a:cubicBezTo>
                    <a:pt x="42234" y="48690"/>
                    <a:pt x="39546" y="47971"/>
                    <a:pt x="37010" y="46863"/>
                  </a:cubicBezTo>
                  <a:lnTo>
                    <a:pt x="28457" y="43110"/>
                  </a:lnTo>
                  <a:cubicBezTo>
                    <a:pt x="23009" y="49722"/>
                    <a:pt x="18672" y="57176"/>
                    <a:pt x="15617" y="65180"/>
                  </a:cubicBezTo>
                  <a:lnTo>
                    <a:pt x="23218" y="70771"/>
                  </a:lnTo>
                  <a:cubicBezTo>
                    <a:pt x="35431" y="79746"/>
                    <a:pt x="38055" y="96922"/>
                    <a:pt x="29080" y="109134"/>
                  </a:cubicBezTo>
                  <a:cubicBezTo>
                    <a:pt x="27434" y="111373"/>
                    <a:pt x="25458" y="113349"/>
                    <a:pt x="23218" y="114995"/>
                  </a:cubicBezTo>
                  <a:lnTo>
                    <a:pt x="15608" y="120596"/>
                  </a:lnTo>
                  <a:cubicBezTo>
                    <a:pt x="18656" y="128616"/>
                    <a:pt x="22999" y="136084"/>
                    <a:pt x="28447" y="142713"/>
                  </a:cubicBezTo>
                  <a:lnTo>
                    <a:pt x="37068" y="138932"/>
                  </a:lnTo>
                  <a:cubicBezTo>
                    <a:pt x="50962" y="132865"/>
                    <a:pt x="67143" y="139211"/>
                    <a:pt x="73209" y="153105"/>
                  </a:cubicBezTo>
                  <a:cubicBezTo>
                    <a:pt x="74308" y="155619"/>
                    <a:pt x="75022" y="158285"/>
                    <a:pt x="75330" y="161011"/>
                  </a:cubicBezTo>
                  <a:lnTo>
                    <a:pt x="76377" y="170383"/>
                  </a:lnTo>
                  <a:cubicBezTo>
                    <a:pt x="84845" y="171812"/>
                    <a:pt x="93503" y="171812"/>
                    <a:pt x="101971" y="170383"/>
                  </a:cubicBezTo>
                  <a:lnTo>
                    <a:pt x="103019" y="161011"/>
                  </a:lnTo>
                  <a:cubicBezTo>
                    <a:pt x="104689" y="145948"/>
                    <a:pt x="118254" y="135090"/>
                    <a:pt x="133318" y="136761"/>
                  </a:cubicBezTo>
                  <a:cubicBezTo>
                    <a:pt x="136068" y="137066"/>
                    <a:pt x="138756" y="137785"/>
                    <a:pt x="141290" y="138894"/>
                  </a:cubicBezTo>
                  <a:lnTo>
                    <a:pt x="149910" y="142665"/>
                  </a:lnTo>
                  <a:cubicBezTo>
                    <a:pt x="155356" y="136050"/>
                    <a:pt x="159689" y="128593"/>
                    <a:pt x="162740" y="120587"/>
                  </a:cubicBezTo>
                  <a:lnTo>
                    <a:pt x="155140" y="114986"/>
                  </a:lnTo>
                  <a:cubicBezTo>
                    <a:pt x="142928" y="106010"/>
                    <a:pt x="140303" y="88835"/>
                    <a:pt x="149278" y="76623"/>
                  </a:cubicBezTo>
                  <a:cubicBezTo>
                    <a:pt x="150924" y="74384"/>
                    <a:pt x="152900" y="72407"/>
                    <a:pt x="155140" y="70761"/>
                  </a:cubicBezTo>
                  <a:lnTo>
                    <a:pt x="162721" y="65170"/>
                  </a:lnTo>
                  <a:cubicBezTo>
                    <a:pt x="159667" y="57166"/>
                    <a:pt x="155330" y="49712"/>
                    <a:pt x="149882" y="43101"/>
                  </a:cubicBezTo>
                  <a:lnTo>
                    <a:pt x="141347" y="46844"/>
                  </a:lnTo>
                  <a:cubicBezTo>
                    <a:pt x="127449" y="52928"/>
                    <a:pt x="111251" y="46594"/>
                    <a:pt x="105167" y="32696"/>
                  </a:cubicBezTo>
                  <a:cubicBezTo>
                    <a:pt x="104055" y="30156"/>
                    <a:pt x="103334" y="27463"/>
                    <a:pt x="103028" y="24708"/>
                  </a:cubicBezTo>
                  <a:lnTo>
                    <a:pt x="101980" y="15411"/>
                  </a:lnTo>
                  <a:cubicBezTo>
                    <a:pt x="97782" y="14725"/>
                    <a:pt x="93538" y="14352"/>
                    <a:pt x="89284" y="14297"/>
                  </a:cubicBezTo>
                  <a:close/>
                  <a:moveTo>
                    <a:pt x="89160" y="57150"/>
                  </a:moveTo>
                  <a:cubicBezTo>
                    <a:pt x="108887" y="57150"/>
                    <a:pt x="124879" y="73142"/>
                    <a:pt x="124879" y="92869"/>
                  </a:cubicBezTo>
                  <a:cubicBezTo>
                    <a:pt x="124879" y="112596"/>
                    <a:pt x="108887" y="128588"/>
                    <a:pt x="89160" y="128588"/>
                  </a:cubicBezTo>
                  <a:cubicBezTo>
                    <a:pt x="69433" y="128588"/>
                    <a:pt x="53441" y="112596"/>
                    <a:pt x="53441" y="92869"/>
                  </a:cubicBezTo>
                  <a:cubicBezTo>
                    <a:pt x="53441" y="73142"/>
                    <a:pt x="69433" y="57150"/>
                    <a:pt x="89160" y="57150"/>
                  </a:cubicBezTo>
                  <a:close/>
                  <a:moveTo>
                    <a:pt x="89160" y="71438"/>
                  </a:moveTo>
                  <a:cubicBezTo>
                    <a:pt x="77324" y="71438"/>
                    <a:pt x="67729" y="81033"/>
                    <a:pt x="67729" y="92869"/>
                  </a:cubicBezTo>
                  <a:cubicBezTo>
                    <a:pt x="67729" y="104705"/>
                    <a:pt x="77324" y="114300"/>
                    <a:pt x="89160" y="114300"/>
                  </a:cubicBezTo>
                  <a:cubicBezTo>
                    <a:pt x="100996" y="114300"/>
                    <a:pt x="110591" y="104705"/>
                    <a:pt x="110591" y="92869"/>
                  </a:cubicBezTo>
                  <a:cubicBezTo>
                    <a:pt x="110591" y="81033"/>
                    <a:pt x="100996" y="71438"/>
                    <a:pt x="89160" y="71438"/>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spTree>
    <p:extLst>
      <p:ext uri="{BB962C8B-B14F-4D97-AF65-F5344CB8AC3E}">
        <p14:creationId xmlns:p14="http://schemas.microsoft.com/office/powerpoint/2010/main" val="10974828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AB218-CD8F-4598-5282-A631CEEEC584}"/>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1274B804-E9FF-7EF7-C2B3-9FAEBA6CB740}"/>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flipV="1">
            <a:off x="6966857" y="3429000"/>
            <a:ext cx="5225143" cy="3429000"/>
          </a:xfrm>
          <a:prstGeom prst="rect">
            <a:avLst/>
          </a:prstGeom>
        </p:spPr>
      </p:pic>
      <p:sp>
        <p:nvSpPr>
          <p:cNvPr id="4" name="Rectangle: Top Corners Rounded 3">
            <a:extLst>
              <a:ext uri="{FF2B5EF4-FFF2-40B4-BE49-F238E27FC236}">
                <a16:creationId xmlns:a16="http://schemas.microsoft.com/office/drawing/2014/main" id="{0A585A91-04F5-29EF-0E1A-8EE1A4AB965E}"/>
              </a:ext>
              <a:ext uri="{C183D7F6-B498-43B3-948B-1728B52AA6E4}">
                <adec:decorative xmlns:adec="http://schemas.microsoft.com/office/drawing/2017/decorative" val="1"/>
              </a:ext>
            </a:extLst>
          </p:cNvPr>
          <p:cNvSpPr/>
          <p:nvPr/>
        </p:nvSpPr>
        <p:spPr>
          <a:xfrm>
            <a:off x="334297" y="0"/>
            <a:ext cx="2939845" cy="6286500"/>
          </a:xfrm>
          <a:prstGeom prst="round2SameRect">
            <a:avLst>
              <a:gd name="adj1" fmla="val 0"/>
              <a:gd name="adj2" fmla="val 8696"/>
            </a:avLst>
          </a:prstGeom>
          <a:gradFill>
            <a:gsLst>
              <a:gs pos="0">
                <a:schemeClr val="accent4"/>
              </a:gs>
              <a:gs pos="100000">
                <a:schemeClr val="accent6"/>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Rounded Rectangle 1">
            <a:extLst>
              <a:ext uri="{FF2B5EF4-FFF2-40B4-BE49-F238E27FC236}">
                <a16:creationId xmlns:a16="http://schemas.microsoft.com/office/drawing/2014/main" id="{B475A3D9-33D1-16A2-544B-B16F645599BC}"/>
              </a:ext>
              <a:ext uri="{C183D7F6-B498-43B3-948B-1728B52AA6E4}">
                <adec:decorative xmlns:adec="http://schemas.microsoft.com/office/drawing/2017/decorative" val="1"/>
              </a:ext>
            </a:extLst>
          </p:cNvPr>
          <p:cNvSpPr/>
          <p:nvPr/>
        </p:nvSpPr>
        <p:spPr bwMode="auto">
          <a:xfrm>
            <a:off x="3650972" y="1036994"/>
            <a:ext cx="8045728" cy="5249506"/>
          </a:xfrm>
          <a:prstGeom prst="roundRect">
            <a:avLst>
              <a:gd name="adj" fmla="val 3421"/>
            </a:avLst>
          </a:prstGeom>
          <a:solidFill>
            <a:schemeClr val="bg1">
              <a:lumMod val="9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3EC8F7FF-B997-90D8-F897-76B69147D631}"/>
              </a:ext>
            </a:extLst>
          </p:cNvPr>
          <p:cNvSpPr>
            <a:spLocks noGrp="1"/>
          </p:cNvSpPr>
          <p:nvPr>
            <p:ph type="title"/>
          </p:nvPr>
        </p:nvSpPr>
        <p:spPr>
          <a:xfrm>
            <a:off x="511175" y="2606180"/>
            <a:ext cx="1928413" cy="1074140"/>
          </a:xfrm>
        </p:spPr>
        <p:txBody>
          <a:bodyPr wrap="none" lIns="88900" tIns="38100" rIns="88900" bIns="38100" anchor="b">
            <a:spAutoFit/>
          </a:bodyPr>
          <a:lstStyle/>
          <a:p>
            <a:r>
              <a:rPr lang="en-GB">
                <a:solidFill>
                  <a:schemeClr val="bg1"/>
                </a:solidFill>
              </a:rPr>
              <a:t>Event</a:t>
            </a:r>
            <a:br>
              <a:rPr lang="en-GB">
                <a:solidFill>
                  <a:schemeClr val="bg1"/>
                </a:solidFill>
              </a:rPr>
            </a:br>
            <a:r>
              <a:rPr lang="en-GB">
                <a:solidFill>
                  <a:schemeClr val="bg1"/>
                </a:solidFill>
              </a:rPr>
              <a:t>Agenda </a:t>
            </a:r>
          </a:p>
        </p:txBody>
      </p:sp>
      <p:graphicFrame>
        <p:nvGraphicFramePr>
          <p:cNvPr id="7" name="Table 6">
            <a:extLst>
              <a:ext uri="{FF2B5EF4-FFF2-40B4-BE49-F238E27FC236}">
                <a16:creationId xmlns:a16="http://schemas.microsoft.com/office/drawing/2014/main" id="{5CAB02ED-7C3B-DCAD-E347-5DA9DF328807}"/>
              </a:ext>
            </a:extLst>
          </p:cNvPr>
          <p:cNvGraphicFramePr>
            <a:graphicFrameLocks noGrp="1"/>
          </p:cNvGraphicFramePr>
          <p:nvPr/>
        </p:nvGraphicFramePr>
        <p:xfrm>
          <a:off x="3650972" y="1036992"/>
          <a:ext cx="8045728" cy="5249508"/>
        </p:xfrm>
        <a:graphic>
          <a:graphicData uri="http://schemas.openxmlformats.org/drawingml/2006/table">
            <a:tbl>
              <a:tblPr firstRow="1" firstCol="1" bandRow="1">
                <a:effectLst/>
                <a:tableStyleId>{2D5ABB26-0587-4C30-8999-92F81FD0307C}</a:tableStyleId>
              </a:tblPr>
              <a:tblGrid>
                <a:gridCol w="921623">
                  <a:extLst>
                    <a:ext uri="{9D8B030D-6E8A-4147-A177-3AD203B41FA5}">
                      <a16:colId xmlns:a16="http://schemas.microsoft.com/office/drawing/2014/main" val="2425042780"/>
                    </a:ext>
                  </a:extLst>
                </a:gridCol>
                <a:gridCol w="1451783">
                  <a:extLst>
                    <a:ext uri="{9D8B030D-6E8A-4147-A177-3AD203B41FA5}">
                      <a16:colId xmlns:a16="http://schemas.microsoft.com/office/drawing/2014/main" val="3193638804"/>
                    </a:ext>
                  </a:extLst>
                </a:gridCol>
                <a:gridCol w="5672322">
                  <a:extLst>
                    <a:ext uri="{9D8B030D-6E8A-4147-A177-3AD203B41FA5}">
                      <a16:colId xmlns:a16="http://schemas.microsoft.com/office/drawing/2014/main" val="3290846685"/>
                    </a:ext>
                  </a:extLst>
                </a:gridCol>
              </a:tblGrid>
              <a:tr h="477228">
                <a:tc>
                  <a:txBody>
                    <a:bodyPr/>
                    <a:lstStyle/>
                    <a:p>
                      <a:pPr algn="ctr">
                        <a:buNone/>
                      </a:pPr>
                      <a:r>
                        <a:rPr lang="en-US" sz="1400" b="0">
                          <a:solidFill>
                            <a:schemeClr val="tx1"/>
                          </a:solidFill>
                          <a:latin typeface="+mj-lt"/>
                        </a:rPr>
                        <a:t>10 mins</a:t>
                      </a:r>
                      <a:endParaRPr lang="en-GB" sz="1400" b="0">
                        <a:solidFill>
                          <a:schemeClr val="tx1"/>
                        </a:solidFill>
                        <a:latin typeface="+mj-lt"/>
                      </a:endParaRPr>
                    </a:p>
                  </a:txBody>
                  <a:tcPr marT="91440" marB="91440" anchor="ctr">
                    <a:lnL w="6350">
                      <a:noFill/>
                    </a:lnL>
                    <a:lnR w="6350" cap="flat" cmpd="sng" algn="ctr">
                      <a:solidFill>
                        <a:schemeClr val="bg1">
                          <a:lumMod val="85000"/>
                        </a:schemeClr>
                      </a:solidFill>
                      <a:prstDash val="solid"/>
                      <a:round/>
                      <a:headEnd type="none" w="med" len="med"/>
                      <a:tailEnd type="none" w="med" len="med"/>
                    </a:lnR>
                    <a:lnT w="6350">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GB" sz="1400" b="0">
                          <a:solidFill>
                            <a:schemeClr val="tx1"/>
                          </a:solidFill>
                          <a:latin typeface="+mj-lt"/>
                        </a:rPr>
                        <a:t>08:30 – 08:40</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400" b="0" noProof="0">
                          <a:solidFill>
                            <a:schemeClr val="tx1"/>
                          </a:solidFill>
                          <a:latin typeface="+mn-lt"/>
                        </a:rPr>
                        <a:t>Welcome &amp; Kick off</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4502484"/>
                  </a:ext>
                </a:extLst>
              </a:tr>
              <a:tr h="477228">
                <a:tc>
                  <a:txBody>
                    <a:bodyPr/>
                    <a:lstStyle/>
                    <a:p>
                      <a:pPr algn="ctr">
                        <a:buNone/>
                      </a:pPr>
                      <a:r>
                        <a:rPr lang="en-US" sz="1400" b="0">
                          <a:solidFill>
                            <a:schemeClr val="tx1"/>
                          </a:solidFill>
                          <a:latin typeface="+mj-lt"/>
                        </a:rPr>
                        <a:t>35 mins</a:t>
                      </a:r>
                      <a:endParaRPr lang="en-GB" sz="1400" b="0">
                        <a:solidFill>
                          <a:schemeClr val="tx1"/>
                        </a:solidFill>
                        <a:latin typeface="+mj-lt"/>
                      </a:endParaRP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GB" sz="1400" b="0">
                          <a:solidFill>
                            <a:schemeClr val="tx1"/>
                          </a:solidFill>
                          <a:latin typeface="+mj-lt"/>
                        </a:rPr>
                        <a:t>08:40 – 09:15</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400" b="0" noProof="0">
                          <a:solidFill>
                            <a:schemeClr val="tx1"/>
                          </a:solidFill>
                          <a:latin typeface="+mn-lt"/>
                        </a:rPr>
                        <a:t>Copilot: What’s new &amp; the Art of Prompting</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4253332"/>
                  </a:ext>
                </a:extLst>
              </a:tr>
              <a:tr h="477228">
                <a:tc>
                  <a:txBody>
                    <a:bodyPr/>
                    <a:lstStyle/>
                    <a:p>
                      <a:pPr algn="ctr">
                        <a:buNone/>
                      </a:pPr>
                      <a:r>
                        <a:rPr lang="en-US" sz="1400" b="0">
                          <a:solidFill>
                            <a:schemeClr val="tx1"/>
                          </a:solidFill>
                          <a:latin typeface="+mj-lt"/>
                        </a:rPr>
                        <a:t>45 mins</a:t>
                      </a:r>
                      <a:endParaRPr lang="en-GB" sz="1400" b="0">
                        <a:solidFill>
                          <a:schemeClr val="tx1"/>
                        </a:solidFill>
                        <a:latin typeface="+mj-lt"/>
                      </a:endParaRP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None/>
                      </a:pPr>
                      <a:r>
                        <a:rPr lang="en-GB" sz="1400" b="0">
                          <a:solidFill>
                            <a:schemeClr val="tx1"/>
                          </a:solidFill>
                          <a:latin typeface="+mj-lt"/>
                        </a:rPr>
                        <a:t>09:15 – 10:00</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400" b="0" noProof="0">
                          <a:solidFill>
                            <a:schemeClr val="tx1"/>
                          </a:solidFill>
                          <a:latin typeface="+mn-lt"/>
                        </a:rPr>
                        <a:t>Becoming a Frontier Firm with Copilot &amp; Agents</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30478789"/>
                  </a:ext>
                </a:extLst>
              </a:tr>
              <a:tr h="477228">
                <a:tc>
                  <a:txBody>
                    <a:bodyPr/>
                    <a:lstStyle/>
                    <a:p>
                      <a:pPr algn="ctr">
                        <a:buNone/>
                      </a:pPr>
                      <a:r>
                        <a:rPr lang="en-GB" sz="1400" b="0">
                          <a:solidFill>
                            <a:schemeClr val="tx1"/>
                          </a:solidFill>
                          <a:latin typeface="+mj-lt"/>
                        </a:rPr>
                        <a:t>15 mins</a:t>
                      </a: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None/>
                      </a:pPr>
                      <a:r>
                        <a:rPr lang="en-GB" sz="1400" b="0">
                          <a:solidFill>
                            <a:schemeClr val="tx1"/>
                          </a:solidFill>
                          <a:latin typeface="+mj-lt"/>
                        </a:rPr>
                        <a:t>10:00 – 10:15</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400" b="0" noProof="0">
                          <a:solidFill>
                            <a:schemeClr val="tx1"/>
                          </a:solidFill>
                          <a:latin typeface="+mn-lt"/>
                        </a:rPr>
                        <a:t>Coffee Break</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3176265"/>
                  </a:ext>
                </a:extLst>
              </a:tr>
              <a:tr h="477228">
                <a:tc>
                  <a:txBody>
                    <a:bodyPr/>
                    <a:lstStyle/>
                    <a:p>
                      <a:pPr algn="ctr">
                        <a:buNone/>
                      </a:pPr>
                      <a:r>
                        <a:rPr lang="en-GB" sz="1400" b="0">
                          <a:solidFill>
                            <a:schemeClr val="tx1"/>
                          </a:solidFill>
                          <a:latin typeface="+mj-lt"/>
                        </a:rPr>
                        <a:t>45 mins</a:t>
                      </a: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None/>
                      </a:pPr>
                      <a:r>
                        <a:rPr lang="en-GB" sz="1400" b="0">
                          <a:solidFill>
                            <a:schemeClr val="tx1"/>
                          </a:solidFill>
                          <a:latin typeface="+mj-lt"/>
                        </a:rPr>
                        <a:t>10:15 – 11:00</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400" noProof="0">
                          <a:solidFill>
                            <a:schemeClr val="tx1"/>
                          </a:solidFill>
                          <a:latin typeface="+mn-lt"/>
                        </a:rPr>
                        <a:t>Hands-on Lab: Get Started With Agents</a:t>
                      </a:r>
                      <a:endParaRPr lang="en-US" sz="1400" b="0" noProof="0">
                        <a:solidFill>
                          <a:schemeClr val="tx1"/>
                        </a:solidFill>
                        <a:latin typeface="+mn-lt"/>
                      </a:endParaRP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3338443"/>
                  </a:ext>
                </a:extLst>
              </a:tr>
              <a:tr h="477228">
                <a:tc>
                  <a:txBody>
                    <a:bodyPr/>
                    <a:lstStyle/>
                    <a:p>
                      <a:pPr algn="ctr">
                        <a:buNone/>
                      </a:pPr>
                      <a:r>
                        <a:rPr lang="en-GB" sz="1400" b="0">
                          <a:solidFill>
                            <a:schemeClr val="tx1"/>
                          </a:solidFill>
                          <a:latin typeface="+mj-lt"/>
                        </a:rPr>
                        <a:t>15 mins</a:t>
                      </a: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None/>
                      </a:pPr>
                      <a:r>
                        <a:rPr lang="en-GB" sz="1400" b="0">
                          <a:solidFill>
                            <a:schemeClr val="tx1"/>
                          </a:solidFill>
                          <a:latin typeface="+mj-lt"/>
                        </a:rPr>
                        <a:t>11:00  – 11:15</a:t>
                      </a:r>
                      <a:endParaRPr lang="en-US" sz="1400" b="0">
                        <a:solidFill>
                          <a:schemeClr val="tx1"/>
                        </a:solidFill>
                        <a:latin typeface="+mj-lt"/>
                      </a:endParaRP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400" b="0" noProof="0">
                          <a:solidFill>
                            <a:schemeClr val="tx1"/>
                          </a:solidFill>
                          <a:latin typeface="+mn-lt"/>
                        </a:rPr>
                        <a:t>Hackathon Kickoff</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905857"/>
                  </a:ext>
                </a:extLst>
              </a:tr>
              <a:tr h="477228">
                <a:tc>
                  <a:txBody>
                    <a:bodyPr/>
                    <a:lstStyle/>
                    <a:p>
                      <a:pPr algn="ctr">
                        <a:buNone/>
                      </a:pPr>
                      <a:r>
                        <a:rPr lang="en-US" sz="1400" b="0">
                          <a:solidFill>
                            <a:schemeClr val="tx1"/>
                          </a:solidFill>
                          <a:latin typeface="+mj-lt"/>
                        </a:rPr>
                        <a:t>45 mins</a:t>
                      </a:r>
                      <a:endParaRPr lang="en-GB" sz="1400" b="0">
                        <a:solidFill>
                          <a:schemeClr val="tx1"/>
                        </a:solidFill>
                        <a:latin typeface="+mj-lt"/>
                      </a:endParaRP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None/>
                      </a:pPr>
                      <a:r>
                        <a:rPr lang="en-GB" sz="1400" b="0">
                          <a:solidFill>
                            <a:schemeClr val="tx1"/>
                          </a:solidFill>
                          <a:latin typeface="+mj-lt"/>
                        </a:rPr>
                        <a:t>11:15 – 12:00</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400" b="0" noProof="0">
                          <a:solidFill>
                            <a:schemeClr val="tx1"/>
                          </a:solidFill>
                          <a:latin typeface="+mn-lt"/>
                        </a:rPr>
                        <a:t>Hackathon Ideation</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286359"/>
                  </a:ext>
                </a:extLst>
              </a:tr>
              <a:tr h="477228">
                <a:tc>
                  <a:txBody>
                    <a:bodyPr/>
                    <a:lstStyle/>
                    <a:p>
                      <a:pPr algn="ctr">
                        <a:buNone/>
                      </a:pPr>
                      <a:r>
                        <a:rPr lang="en-GB" sz="1400" b="0">
                          <a:solidFill>
                            <a:schemeClr val="tx1"/>
                          </a:solidFill>
                          <a:latin typeface="+mj-lt"/>
                        </a:rPr>
                        <a:t>60 mins</a:t>
                      </a: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None/>
                      </a:pPr>
                      <a:r>
                        <a:rPr lang="en-GB" sz="1400" b="0">
                          <a:solidFill>
                            <a:schemeClr val="tx1"/>
                          </a:solidFill>
                          <a:latin typeface="+mj-lt"/>
                        </a:rPr>
                        <a:t>12:00 – 13:00</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400" b="0" noProof="0">
                          <a:solidFill>
                            <a:schemeClr val="tx1"/>
                          </a:solidFill>
                          <a:latin typeface="+mn-lt"/>
                        </a:rPr>
                        <a:t>Lunch Break</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4925527"/>
                  </a:ext>
                </a:extLst>
              </a:tr>
              <a:tr h="477228">
                <a:tc>
                  <a:txBody>
                    <a:bodyPr/>
                    <a:lstStyle/>
                    <a:p>
                      <a:pPr algn="ctr">
                        <a:buNone/>
                      </a:pPr>
                      <a:r>
                        <a:rPr lang="en-US" sz="1400" b="0">
                          <a:solidFill>
                            <a:schemeClr val="tx1"/>
                          </a:solidFill>
                          <a:latin typeface="+mj-lt"/>
                        </a:rPr>
                        <a:t>45 mins</a:t>
                      </a:r>
                      <a:endParaRPr lang="en-GB" sz="1400" b="0">
                        <a:solidFill>
                          <a:schemeClr val="tx1"/>
                        </a:solidFill>
                        <a:latin typeface="+mj-lt"/>
                      </a:endParaRP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None/>
                      </a:pPr>
                      <a:r>
                        <a:rPr lang="en-US" sz="1400" b="0">
                          <a:solidFill>
                            <a:schemeClr val="tx1"/>
                          </a:solidFill>
                          <a:latin typeface="+mj-lt"/>
                        </a:rPr>
                        <a:t>13:00 – 13:45</a:t>
                      </a:r>
                      <a:endParaRPr lang="en-GB" sz="1400" b="0">
                        <a:solidFill>
                          <a:schemeClr val="tx1"/>
                        </a:solidFill>
                        <a:latin typeface="+mj-lt"/>
                      </a:endParaRP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400" b="0" noProof="0">
                          <a:solidFill>
                            <a:schemeClr val="tx1"/>
                          </a:solidFill>
                          <a:latin typeface="+mn-lt"/>
                        </a:rPr>
                        <a:t>Hackathon continued</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0559784"/>
                  </a:ext>
                </a:extLst>
              </a:tr>
              <a:tr h="477228">
                <a:tc>
                  <a:txBody>
                    <a:bodyPr/>
                    <a:lstStyle/>
                    <a:p>
                      <a:pPr algn="ctr">
                        <a:buNone/>
                      </a:pPr>
                      <a:r>
                        <a:rPr lang="en-GB" sz="1400" b="0">
                          <a:solidFill>
                            <a:schemeClr val="tx1"/>
                          </a:solidFill>
                          <a:latin typeface="+mj-lt"/>
                        </a:rPr>
                        <a:t>60 mins</a:t>
                      </a: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None/>
                      </a:pPr>
                      <a:r>
                        <a:rPr lang="en-GB" sz="1400" b="0">
                          <a:solidFill>
                            <a:schemeClr val="tx1"/>
                          </a:solidFill>
                          <a:latin typeface="+mj-lt"/>
                        </a:rPr>
                        <a:t>13:45 – 14:45</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buNone/>
                      </a:pPr>
                      <a:r>
                        <a:rPr lang="en-US" sz="1400" b="0" noProof="0">
                          <a:solidFill>
                            <a:schemeClr val="tx1"/>
                          </a:solidFill>
                          <a:latin typeface="+mn-lt"/>
                        </a:rPr>
                        <a:t>Team Presentations: Agents Showcase</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2341210"/>
                  </a:ext>
                </a:extLst>
              </a:tr>
              <a:tr h="477228">
                <a:tc>
                  <a:txBody>
                    <a:bodyPr/>
                    <a:lstStyle/>
                    <a:p>
                      <a:pPr algn="ctr">
                        <a:buNone/>
                      </a:pPr>
                      <a:r>
                        <a:rPr lang="en-GB" sz="1400" b="0">
                          <a:solidFill>
                            <a:schemeClr val="tx1"/>
                          </a:solidFill>
                          <a:latin typeface="+mj-lt"/>
                        </a:rPr>
                        <a:t>15 mins</a:t>
                      </a:r>
                    </a:p>
                  </a:txBody>
                  <a:tcPr marT="91440" marB="91440" anchor="ctr">
                    <a:lnL w="6350">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a:noFill/>
                    </a:lnB>
                    <a:lnTlToBr w="12700" cmpd="sng">
                      <a:noFill/>
                      <a:prstDash val="solid"/>
                    </a:lnTlToBr>
                    <a:lnBlToTr w="12700" cmpd="sng">
                      <a:noFill/>
                      <a:prstDash val="solid"/>
                    </a:lnBlToTr>
                  </a:tcPr>
                </a:tc>
                <a:tc>
                  <a:txBody>
                    <a:bodyPr/>
                    <a:lstStyle/>
                    <a:p>
                      <a:pPr algn="ctr">
                        <a:buNone/>
                      </a:pPr>
                      <a:r>
                        <a:rPr lang="en-GB" sz="1400" b="0">
                          <a:solidFill>
                            <a:schemeClr val="tx1"/>
                          </a:solidFill>
                          <a:latin typeface="+mj-lt"/>
                        </a:rPr>
                        <a:t>14:45 – 15:00</a:t>
                      </a:r>
                    </a:p>
                  </a:txBody>
                  <a:tcPr marT="91440" marB="9144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a:noFill/>
                    </a:lnB>
                    <a:lnTlToBr w="12700" cmpd="sng">
                      <a:noFill/>
                      <a:prstDash val="solid"/>
                    </a:lnTlToBr>
                    <a:lnBlToTr w="12700" cmpd="sng">
                      <a:noFill/>
                      <a:prstDash val="solid"/>
                    </a:lnBlToTr>
                  </a:tcPr>
                </a:tc>
                <a:tc>
                  <a:txBody>
                    <a:bodyPr/>
                    <a:lstStyle/>
                    <a:p>
                      <a:pPr algn="l">
                        <a:buNone/>
                      </a:pPr>
                      <a:r>
                        <a:rPr lang="en-US" sz="1400" b="0" noProof="0">
                          <a:solidFill>
                            <a:schemeClr val="tx1"/>
                          </a:solidFill>
                          <a:latin typeface="+mn-lt"/>
                        </a:rPr>
                        <a:t>Winner Announcement &amp; Close</a:t>
                      </a:r>
                    </a:p>
                  </a:txBody>
                  <a:tcPr marL="182880" marR="182880" marT="91440" marB="91440" anchor="ctr">
                    <a:lnL w="6350" cap="flat" cmpd="sng" algn="ctr">
                      <a:solidFill>
                        <a:schemeClr val="bg1">
                          <a:lumMod val="85000"/>
                        </a:schemeClr>
                      </a:solidFill>
                      <a:prstDash val="solid"/>
                      <a:round/>
                      <a:headEnd type="none" w="med" len="med"/>
                      <a:tailEnd type="none" w="med" len="med"/>
                    </a:lnL>
                    <a:lnR w="6350">
                      <a:noFill/>
                    </a:lnR>
                    <a:lnT w="6350" cap="flat" cmpd="sng" algn="ctr">
                      <a:solidFill>
                        <a:schemeClr val="bg1">
                          <a:lumMod val="85000"/>
                        </a:schemeClr>
                      </a:solidFill>
                      <a:prstDash val="solid"/>
                      <a:round/>
                      <a:headEnd type="none" w="med" len="med"/>
                      <a:tailEnd type="none" w="med" len="med"/>
                    </a:lnT>
                    <a:lnB w="6350">
                      <a:noFill/>
                    </a:lnB>
                    <a:lnTlToBr w="12700" cmpd="sng">
                      <a:noFill/>
                      <a:prstDash val="solid"/>
                    </a:lnTlToBr>
                    <a:lnBlToTr w="12700" cmpd="sng">
                      <a:noFill/>
                      <a:prstDash val="solid"/>
                    </a:lnBlToTr>
                  </a:tcPr>
                </a:tc>
                <a:extLst>
                  <a:ext uri="{0D108BD9-81ED-4DB2-BD59-A6C34878D82A}">
                    <a16:rowId xmlns:a16="http://schemas.microsoft.com/office/drawing/2014/main" val="4191293707"/>
                  </a:ext>
                </a:extLst>
              </a:tr>
            </a:tbl>
          </a:graphicData>
        </a:graphic>
      </p:graphicFrame>
    </p:spTree>
    <p:extLst>
      <p:ext uri="{BB962C8B-B14F-4D97-AF65-F5344CB8AC3E}">
        <p14:creationId xmlns:p14="http://schemas.microsoft.com/office/powerpoint/2010/main" val="22312492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4C25E-B11E-82CA-B3F3-2816064D34DB}"/>
            </a:ext>
          </a:extLst>
        </p:cNvPr>
        <p:cNvGrpSpPr/>
        <p:nvPr/>
      </p:nvGrpSpPr>
      <p:grpSpPr>
        <a:xfrm>
          <a:off x="0" y="0"/>
          <a:ext cx="0" cy="0"/>
          <a:chOff x="0" y="0"/>
          <a:chExt cx="0" cy="0"/>
        </a:xfrm>
      </p:grpSpPr>
      <p:sp>
        <p:nvSpPr>
          <p:cNvPr id="26" name="TextBox 25">
            <a:extLst>
              <a:ext uri="{FF2B5EF4-FFF2-40B4-BE49-F238E27FC236}">
                <a16:creationId xmlns:a16="http://schemas.microsoft.com/office/drawing/2014/main" id="{C3A4CEB0-0216-9A70-C845-E6C50EC51528}"/>
              </a:ext>
              <a:ext uri="{C183D7F6-B498-43B3-948B-1728B52AA6E4}">
                <adec:decorative xmlns:adec="http://schemas.microsoft.com/office/drawing/2017/decorative" val="1"/>
              </a:ext>
            </a:extLst>
          </p:cNvPr>
          <p:cNvSpPr txBox="1"/>
          <p:nvPr/>
        </p:nvSpPr>
        <p:spPr>
          <a:xfrm>
            <a:off x="805135" y="5326277"/>
            <a:ext cx="2090057" cy="182880"/>
          </a:xfrm>
          <a:prstGeom prst="roundRect">
            <a:avLst>
              <a:gd name="adj" fmla="val 50000"/>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37160" rIns="182880" bIns="137160" rtlCol="0" anchor="ct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solidFill>
                  <a:schemeClr val="bg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pic>
        <p:nvPicPr>
          <p:cNvPr id="27" name="Picture 26">
            <a:extLst>
              <a:ext uri="{FF2B5EF4-FFF2-40B4-BE49-F238E27FC236}">
                <a16:creationId xmlns:a16="http://schemas.microsoft.com/office/drawing/2014/main" id="{46F058B5-45A1-F816-665F-A7E56A0D705B}"/>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flipV="1">
            <a:off x="8564811" y="4477657"/>
            <a:ext cx="3627189" cy="2380343"/>
          </a:xfrm>
          <a:prstGeom prst="rect">
            <a:avLst/>
          </a:prstGeom>
        </p:spPr>
      </p:pic>
      <p:sp>
        <p:nvSpPr>
          <p:cNvPr id="59" name="TextBox 58">
            <a:extLst>
              <a:ext uri="{FF2B5EF4-FFF2-40B4-BE49-F238E27FC236}">
                <a16:creationId xmlns:a16="http://schemas.microsoft.com/office/drawing/2014/main" id="{5D828CBA-2DAB-9EA7-E281-4EEE1DE2F3A8}"/>
              </a:ext>
              <a:ext uri="{C183D7F6-B498-43B3-948B-1728B52AA6E4}">
                <adec:decorative xmlns:adec="http://schemas.microsoft.com/office/drawing/2017/decorative" val="1"/>
              </a:ext>
            </a:extLst>
          </p:cNvPr>
          <p:cNvSpPr txBox="1"/>
          <p:nvPr/>
        </p:nvSpPr>
        <p:spPr>
          <a:xfrm>
            <a:off x="3635693" y="5326277"/>
            <a:ext cx="2090057" cy="182880"/>
          </a:xfrm>
          <a:prstGeom prst="roundRect">
            <a:avLst>
              <a:gd name="adj" fmla="val 50000"/>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37160" rIns="182880" bIns="137160" rtlCol="0" anchor="ct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solidFill>
                  <a:schemeClr val="bg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60" name="TextBox 59">
            <a:extLst>
              <a:ext uri="{FF2B5EF4-FFF2-40B4-BE49-F238E27FC236}">
                <a16:creationId xmlns:a16="http://schemas.microsoft.com/office/drawing/2014/main" id="{AE75D421-EB3E-D30F-E7F5-DBAAE9C78507}"/>
              </a:ext>
              <a:ext uri="{C183D7F6-B498-43B3-948B-1728B52AA6E4}">
                <adec:decorative xmlns:adec="http://schemas.microsoft.com/office/drawing/2017/decorative" val="1"/>
              </a:ext>
            </a:extLst>
          </p:cNvPr>
          <p:cNvSpPr txBox="1"/>
          <p:nvPr/>
        </p:nvSpPr>
        <p:spPr>
          <a:xfrm>
            <a:off x="6466251" y="5326277"/>
            <a:ext cx="2090057" cy="182880"/>
          </a:xfrm>
          <a:prstGeom prst="roundRect">
            <a:avLst>
              <a:gd name="adj" fmla="val 50000"/>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37160" rIns="182880" bIns="137160" rtlCol="0" anchor="ct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solidFill>
                  <a:schemeClr val="bg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61" name="TextBox 60">
            <a:extLst>
              <a:ext uri="{FF2B5EF4-FFF2-40B4-BE49-F238E27FC236}">
                <a16:creationId xmlns:a16="http://schemas.microsoft.com/office/drawing/2014/main" id="{8C7F3A26-8FE2-D5F9-5229-8E599864971E}"/>
              </a:ext>
              <a:ext uri="{C183D7F6-B498-43B3-948B-1728B52AA6E4}">
                <adec:decorative xmlns:adec="http://schemas.microsoft.com/office/drawing/2017/decorative" val="1"/>
              </a:ext>
            </a:extLst>
          </p:cNvPr>
          <p:cNvSpPr txBox="1"/>
          <p:nvPr/>
        </p:nvSpPr>
        <p:spPr>
          <a:xfrm>
            <a:off x="9296809" y="5326277"/>
            <a:ext cx="2090057" cy="182880"/>
          </a:xfrm>
          <a:prstGeom prst="roundRect">
            <a:avLst>
              <a:gd name="adj" fmla="val 50000"/>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37160" rIns="182880" bIns="137160" rtlCol="0" anchor="ct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solidFill>
                  <a:schemeClr val="bg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0" name="Title 9">
            <a:extLst>
              <a:ext uri="{FF2B5EF4-FFF2-40B4-BE49-F238E27FC236}">
                <a16:creationId xmlns:a16="http://schemas.microsoft.com/office/drawing/2014/main" id="{18210C43-2522-2414-6455-3DCFA124DD6E}"/>
              </a:ext>
              <a:ext uri="{C183D7F6-B498-43B3-948B-1728B52AA6E4}">
                <adec:decorative xmlns:adec="http://schemas.microsoft.com/office/drawing/2017/decorative" val="0"/>
              </a:ext>
            </a:extLst>
          </p:cNvPr>
          <p:cNvSpPr>
            <a:spLocks noGrp="1"/>
          </p:cNvSpPr>
          <p:nvPr>
            <p:ph type="title"/>
          </p:nvPr>
        </p:nvSpPr>
        <p:spPr>
          <a:xfrm>
            <a:off x="511628" y="574386"/>
            <a:ext cx="11185072" cy="498598"/>
          </a:xfrm>
        </p:spPr>
        <p:txBody>
          <a:bodyPr/>
          <a:lstStyle/>
          <a:p>
            <a:r>
              <a:rPr lang="en-US"/>
              <a:t>Attendee requirements</a:t>
            </a:r>
            <a:endParaRPr lang="en-GB"/>
          </a:p>
        </p:txBody>
      </p:sp>
      <p:sp>
        <p:nvSpPr>
          <p:cNvPr id="12" name="Rectangle: Rounded Corners 50">
            <a:extLst>
              <a:ext uri="{FF2B5EF4-FFF2-40B4-BE49-F238E27FC236}">
                <a16:creationId xmlns:a16="http://schemas.microsoft.com/office/drawing/2014/main" id="{5D0DB2FC-1CA2-9277-8373-88B8AEDDAA4B}"/>
              </a:ext>
              <a:ext uri="{C183D7F6-B498-43B3-948B-1728B52AA6E4}">
                <adec:decorative xmlns:adec="http://schemas.microsoft.com/office/drawing/2017/decorative" val="0"/>
              </a:ext>
            </a:extLst>
          </p:cNvPr>
          <p:cNvSpPr>
            <a:spLocks/>
          </p:cNvSpPr>
          <p:nvPr/>
        </p:nvSpPr>
        <p:spPr bwMode="auto">
          <a:xfrm>
            <a:off x="503464" y="1552043"/>
            <a:ext cx="2693398" cy="3867047"/>
          </a:xfrm>
          <a:prstGeom prst="roundRect">
            <a:avLst>
              <a:gd name="adj" fmla="val 4629"/>
            </a:avLst>
          </a:prstGeom>
          <a:solidFill>
            <a:schemeClr val="bg1"/>
          </a:solidFill>
          <a:ln w="6350">
            <a:noFill/>
          </a:ln>
          <a:effectLst>
            <a:outerShdw blurRad="228600" dist="63500" dir="27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554480" rIns="182880" bIns="137160" numCol="1" spcCol="0" rtlCol="0" fromWordArt="0" anchor="t" anchorCtr="0" forceAA="0" compatLnSpc="1">
            <a:prstTxWarp prst="textNoShape">
              <a:avLst/>
            </a:prstTxWarp>
            <a:noAutofit/>
          </a:bodyPr>
          <a:lstStyle/>
          <a:p>
            <a:pPr algn="ctr">
              <a:spcBef>
                <a:spcPct val="0"/>
              </a:spcBef>
              <a:spcAft>
                <a:spcPts val="1200"/>
              </a:spcAft>
              <a:tabLst>
                <a:tab pos="457200" algn="l"/>
              </a:tabLst>
              <a:defRPr/>
            </a:pPr>
            <a:r>
              <a:rPr lang="en-US" sz="1600" kern="0">
                <a:solidFill>
                  <a:prstClr val="black"/>
                </a:solidFill>
                <a:latin typeface="Segoe UI"/>
                <a:cs typeface="Segoe UI"/>
              </a:rPr>
              <a:t>Each group will be comprised of 3-4 people.</a:t>
            </a:r>
          </a:p>
          <a:p>
            <a:pPr algn="ctr">
              <a:spcBef>
                <a:spcPct val="0"/>
              </a:spcBef>
              <a:spcAft>
                <a:spcPts val="1200"/>
              </a:spcAft>
              <a:tabLst>
                <a:tab pos="457200" algn="l"/>
              </a:tabLst>
              <a:defRPr/>
            </a:pPr>
            <a:r>
              <a:rPr lang="en-US" sz="1600" kern="0">
                <a:solidFill>
                  <a:prstClr val="black"/>
                </a:solidFill>
                <a:latin typeface="Segoe UI"/>
                <a:cs typeface="Segoe UI"/>
              </a:rPr>
              <a:t>Audience: BDMs recommended – leaders from HR, Sales, Marketing, Finance, etc.</a:t>
            </a:r>
            <a:endParaRPr lang="en-US">
              <a:solidFill>
                <a:prstClr val="black"/>
              </a:solidFill>
              <a:cs typeface="Segoe UI"/>
            </a:endParaRPr>
          </a:p>
        </p:txBody>
      </p:sp>
      <p:sp>
        <p:nvSpPr>
          <p:cNvPr id="9" name="Rectangle: Rounded Corners 50">
            <a:extLst>
              <a:ext uri="{FF2B5EF4-FFF2-40B4-BE49-F238E27FC236}">
                <a16:creationId xmlns:a16="http://schemas.microsoft.com/office/drawing/2014/main" id="{3F12661F-F227-8503-9EA3-4039FE0D8AD4}"/>
              </a:ext>
              <a:ext uri="{C183D7F6-B498-43B3-948B-1728B52AA6E4}">
                <adec:decorative xmlns:adec="http://schemas.microsoft.com/office/drawing/2017/decorative" val="0"/>
              </a:ext>
            </a:extLst>
          </p:cNvPr>
          <p:cNvSpPr>
            <a:spLocks/>
          </p:cNvSpPr>
          <p:nvPr/>
        </p:nvSpPr>
        <p:spPr bwMode="auto">
          <a:xfrm>
            <a:off x="3334022" y="1552043"/>
            <a:ext cx="2693398" cy="3867047"/>
          </a:xfrm>
          <a:prstGeom prst="roundRect">
            <a:avLst>
              <a:gd name="adj" fmla="val 4629"/>
            </a:avLst>
          </a:prstGeom>
          <a:solidFill>
            <a:schemeClr val="bg1"/>
          </a:solidFill>
          <a:ln w="6350">
            <a:noFill/>
          </a:ln>
          <a:effectLst>
            <a:outerShdw blurRad="228600" dist="63500" dir="27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554480" rIns="182880" bIns="13716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Tx/>
              <a:buFontTx/>
              <a:buNone/>
              <a:tabLst>
                <a:tab pos="457200" algn="l"/>
              </a:tabLst>
              <a:defRPr/>
            </a:pPr>
            <a:r>
              <a:rPr kumimoji="0" lang="en-US" sz="1600" b="0" i="0" u="none" strike="noStrike" kern="0" cap="none" spc="0" normalizeH="0" baseline="0" noProof="0">
                <a:ln>
                  <a:noFill/>
                </a:ln>
                <a:solidFill>
                  <a:prstClr val="black"/>
                </a:solidFill>
                <a:effectLst/>
                <a:uLnTx/>
                <a:uFillTx/>
                <a:latin typeface="Segoe UI"/>
                <a:ea typeface="+mn-ea"/>
                <a:cs typeface="+mn-cs"/>
              </a:rPr>
              <a:t>Attendees need to bring their own laptops and </a:t>
            </a:r>
            <a:r>
              <a:rPr kumimoji="0" lang="en-US" sz="1600" b="0" i="0" u="none" strike="noStrike" kern="0" cap="none" spc="0" normalizeH="0" baseline="0" noProof="0">
                <a:ln>
                  <a:noFill/>
                </a:ln>
                <a:solidFill>
                  <a:prstClr val="black"/>
                </a:solidFill>
                <a:effectLst/>
                <a:uLnTx/>
                <a:uFillTx/>
                <a:latin typeface="Segoe UI Semibold"/>
                <a:ea typeface="+mn-ea"/>
                <a:cs typeface="+mn-cs"/>
              </a:rPr>
              <a:t>ideally</a:t>
            </a:r>
            <a:r>
              <a:rPr kumimoji="0" lang="en-US" sz="1600" b="0" i="0" u="none" strike="noStrike" kern="0" cap="none" spc="0" normalizeH="0" baseline="0" noProof="0">
                <a:ln>
                  <a:noFill/>
                </a:ln>
                <a:solidFill>
                  <a:prstClr val="black"/>
                </a:solidFill>
                <a:effectLst/>
                <a:uLnTx/>
                <a:uFillTx/>
                <a:latin typeface="Segoe UI"/>
                <a:ea typeface="+mn-ea"/>
                <a:cs typeface="+mn-cs"/>
              </a:rPr>
              <a:t> need to be Microsoft 365 Copilot licensed. At minimum, one person in each group should have</a:t>
            </a:r>
            <a:br>
              <a:rPr kumimoji="0" lang="en-US" sz="1600" b="0" i="0" u="none" strike="noStrike" kern="0" cap="none" spc="0" normalizeH="0" baseline="0" noProof="0">
                <a:ln>
                  <a:noFill/>
                </a:ln>
                <a:solidFill>
                  <a:prstClr val="black"/>
                </a:solidFill>
                <a:effectLst/>
                <a:uLnTx/>
                <a:uFillTx/>
                <a:latin typeface="Segoe UI"/>
                <a:ea typeface="+mn-ea"/>
                <a:cs typeface="+mn-cs"/>
              </a:rPr>
            </a:br>
            <a:r>
              <a:rPr kumimoji="0" lang="en-US" sz="1600" b="0" i="0" u="none" strike="noStrike" kern="0" cap="none" spc="0" normalizeH="0" baseline="0" noProof="0">
                <a:ln>
                  <a:noFill/>
                </a:ln>
                <a:solidFill>
                  <a:prstClr val="black"/>
                </a:solidFill>
                <a:effectLst/>
                <a:uLnTx/>
                <a:uFillTx/>
                <a:latin typeface="Segoe UI"/>
                <a:ea typeface="+mn-ea"/>
                <a:cs typeface="+mn-cs"/>
              </a:rPr>
              <a:t>a license</a:t>
            </a:r>
          </a:p>
        </p:txBody>
      </p:sp>
      <p:sp>
        <p:nvSpPr>
          <p:cNvPr id="11" name="Rectangle: Rounded Corners 50">
            <a:extLst>
              <a:ext uri="{FF2B5EF4-FFF2-40B4-BE49-F238E27FC236}">
                <a16:creationId xmlns:a16="http://schemas.microsoft.com/office/drawing/2014/main" id="{34393473-FF96-B345-DA02-176BE7D7840A}"/>
              </a:ext>
              <a:ext uri="{C183D7F6-B498-43B3-948B-1728B52AA6E4}">
                <adec:decorative xmlns:adec="http://schemas.microsoft.com/office/drawing/2017/decorative" val="0"/>
              </a:ext>
            </a:extLst>
          </p:cNvPr>
          <p:cNvSpPr>
            <a:spLocks/>
          </p:cNvSpPr>
          <p:nvPr/>
        </p:nvSpPr>
        <p:spPr bwMode="auto">
          <a:xfrm>
            <a:off x="6164580" y="1552043"/>
            <a:ext cx="2693398" cy="3867047"/>
          </a:xfrm>
          <a:prstGeom prst="roundRect">
            <a:avLst>
              <a:gd name="adj" fmla="val 4629"/>
            </a:avLst>
          </a:prstGeom>
          <a:solidFill>
            <a:schemeClr val="bg1"/>
          </a:solidFill>
          <a:ln w="6350">
            <a:noFill/>
          </a:ln>
          <a:effectLst>
            <a:outerShdw blurRad="228600" dist="63500" dir="27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554480" rIns="182880" bIns="13716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Tx/>
              <a:buFontTx/>
              <a:buNone/>
              <a:tabLst>
                <a:tab pos="457200" algn="l"/>
              </a:tabLst>
              <a:defRPr/>
            </a:pPr>
            <a:r>
              <a:rPr kumimoji="0" lang="en-US" sz="1600" b="0" i="0" u="none" strike="noStrike" kern="0" cap="none" spc="0" normalizeH="0" baseline="0" noProof="0">
                <a:ln>
                  <a:noFill/>
                </a:ln>
                <a:solidFill>
                  <a:prstClr val="black"/>
                </a:solidFill>
                <a:effectLst/>
                <a:uLnTx/>
                <a:uFillTx/>
                <a:latin typeface="Segoe UI"/>
                <a:ea typeface="+mn-ea"/>
                <a:cs typeface="+mn-cs"/>
              </a:rPr>
              <a:t>Attendees need to have the “Create Agent” functionality available, and access to Researcher</a:t>
            </a:r>
          </a:p>
        </p:txBody>
      </p:sp>
      <p:sp>
        <p:nvSpPr>
          <p:cNvPr id="7" name="Rectangle: Rounded Corners 50">
            <a:extLst>
              <a:ext uri="{FF2B5EF4-FFF2-40B4-BE49-F238E27FC236}">
                <a16:creationId xmlns:a16="http://schemas.microsoft.com/office/drawing/2014/main" id="{78DF8A7A-8E8E-4807-F78C-76DA52E887C4}"/>
              </a:ext>
              <a:ext uri="{C183D7F6-B498-43B3-948B-1728B52AA6E4}">
                <adec:decorative xmlns:adec="http://schemas.microsoft.com/office/drawing/2017/decorative" val="0"/>
              </a:ext>
            </a:extLst>
          </p:cNvPr>
          <p:cNvSpPr>
            <a:spLocks/>
          </p:cNvSpPr>
          <p:nvPr/>
        </p:nvSpPr>
        <p:spPr bwMode="auto">
          <a:xfrm>
            <a:off x="8995138" y="1552043"/>
            <a:ext cx="2693398" cy="3867047"/>
          </a:xfrm>
          <a:prstGeom prst="roundRect">
            <a:avLst>
              <a:gd name="adj" fmla="val 4629"/>
            </a:avLst>
          </a:prstGeom>
          <a:solidFill>
            <a:schemeClr val="bg1"/>
          </a:solidFill>
          <a:ln w="6350">
            <a:noFill/>
          </a:ln>
          <a:effectLst>
            <a:outerShdw blurRad="228600" dist="63500" dir="27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554480" rIns="182880" bIns="13716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Tx/>
              <a:buFontTx/>
              <a:buNone/>
              <a:tabLst>
                <a:tab pos="457200" algn="l"/>
              </a:tabLst>
              <a:defRPr/>
            </a:pPr>
            <a:r>
              <a:rPr kumimoji="0" lang="en-US" sz="1600" b="0" i="0" u="none" strike="noStrike" kern="0" cap="none" spc="0" normalizeH="0" baseline="0" noProof="0">
                <a:ln>
                  <a:noFill/>
                </a:ln>
                <a:solidFill>
                  <a:prstClr val="black"/>
                </a:solidFill>
                <a:effectLst/>
                <a:uLnTx/>
                <a:uFillTx/>
                <a:latin typeface="Segoe UI Semibold"/>
                <a:ea typeface="+mn-ea"/>
                <a:cs typeface="+mn-cs"/>
              </a:rPr>
              <a:t>If non-licensed </a:t>
            </a:r>
            <a:br>
              <a:rPr kumimoji="0" lang="en-US" sz="1600" b="0" i="0" u="none" strike="noStrike" kern="0" cap="none" spc="0" normalizeH="0" baseline="0" noProof="0">
                <a:ln>
                  <a:noFill/>
                </a:ln>
                <a:solidFill>
                  <a:prstClr val="black"/>
                </a:solidFill>
                <a:effectLst/>
                <a:uLnTx/>
                <a:uFillTx/>
                <a:latin typeface="Segoe UI Semibold"/>
                <a:ea typeface="+mn-ea"/>
                <a:cs typeface="+mn-cs"/>
              </a:rPr>
            </a:br>
            <a:r>
              <a:rPr kumimoji="0" lang="en-US" sz="1600" b="0" i="0" u="none" strike="noStrike" kern="0" cap="none" spc="0" normalizeH="0" baseline="0" noProof="0">
                <a:ln>
                  <a:noFill/>
                </a:ln>
                <a:solidFill>
                  <a:prstClr val="black"/>
                </a:solidFill>
                <a:effectLst/>
                <a:uLnTx/>
                <a:uFillTx/>
                <a:latin typeface="Segoe UI Semibold"/>
                <a:ea typeface="+mn-ea"/>
                <a:cs typeface="+mn-cs"/>
              </a:rPr>
              <a:t>(Copilot </a:t>
            </a:r>
            <a:r>
              <a:rPr lang="en-US" sz="1600" kern="0">
                <a:solidFill>
                  <a:prstClr val="black"/>
                </a:solidFill>
                <a:latin typeface="Segoe UI Semibold"/>
              </a:rPr>
              <a:t>Basic</a:t>
            </a:r>
            <a:r>
              <a:rPr kumimoji="0" lang="en-US" sz="1600" b="0" i="0" u="none" strike="noStrike" kern="0" cap="none" spc="0" normalizeH="0" baseline="0" noProof="0">
                <a:ln>
                  <a:noFill/>
                </a:ln>
                <a:solidFill>
                  <a:prstClr val="black"/>
                </a:solidFill>
                <a:effectLst/>
                <a:uLnTx/>
                <a:uFillTx/>
                <a:latin typeface="Segoe UI Semibold"/>
                <a:ea typeface="+mn-ea"/>
                <a:cs typeface="+mn-cs"/>
              </a:rPr>
              <a:t>) </a:t>
            </a:r>
            <a:r>
              <a:rPr lang="en-US" sz="1600" kern="0">
                <a:solidFill>
                  <a:prstClr val="black"/>
                </a:solidFill>
                <a:latin typeface="Segoe UI Semibold"/>
              </a:rPr>
              <a:t>users</a:t>
            </a:r>
            <a:r>
              <a:rPr kumimoji="0" lang="en-US" sz="1600" b="0" i="0" u="none" strike="noStrike" kern="0" cap="none" spc="0" normalizeH="0" baseline="0" noProof="0">
                <a:ln>
                  <a:noFill/>
                </a:ln>
                <a:solidFill>
                  <a:prstClr val="black"/>
                </a:solidFill>
                <a:effectLst/>
                <a:uLnTx/>
                <a:uFillTx/>
                <a:latin typeface="Segoe UI Semibold"/>
                <a:ea typeface="+mn-ea"/>
                <a:cs typeface="+mn-cs"/>
              </a:rPr>
              <a:t> are </a:t>
            </a:r>
            <a:r>
              <a:rPr lang="en-US" sz="1600" kern="0">
                <a:solidFill>
                  <a:prstClr val="black"/>
                </a:solidFill>
                <a:latin typeface="Segoe UI Semibold"/>
              </a:rPr>
              <a:t>attending</a:t>
            </a:r>
            <a:r>
              <a:rPr kumimoji="0" lang="en-US" sz="1600" b="0" i="0" u="none" strike="noStrike" kern="0" cap="none" spc="0" normalizeH="0" baseline="0" noProof="0">
                <a:ln>
                  <a:noFill/>
                </a:ln>
                <a:solidFill>
                  <a:prstClr val="black"/>
                </a:solidFill>
                <a:effectLst/>
                <a:uLnTx/>
                <a:uFillTx/>
                <a:latin typeface="Segoe UI"/>
                <a:ea typeface="+mn-ea"/>
                <a:cs typeface="+mn-cs"/>
              </a:rPr>
              <a:t>, leverage the guidance available on the </a:t>
            </a:r>
            <a:br>
              <a:rPr kumimoji="0" lang="en-US" sz="1600" b="0" i="0" u="none" strike="noStrike" kern="0" cap="none" spc="0" normalizeH="0" baseline="0" noProof="0">
                <a:ln>
                  <a:noFill/>
                </a:ln>
                <a:solidFill>
                  <a:prstClr val="black"/>
                </a:solidFill>
                <a:effectLst/>
                <a:uLnTx/>
                <a:uFillTx/>
                <a:latin typeface="Segoe UI"/>
                <a:ea typeface="+mn-ea"/>
                <a:cs typeface="+mn-cs"/>
              </a:rPr>
            </a:br>
            <a:r>
              <a:rPr kumimoji="0" lang="en-US" sz="1600" b="0" i="0" u="none" strike="noStrike" kern="0" cap="none" spc="0" normalizeH="0" baseline="0" noProof="0">
                <a:ln>
                  <a:noFill/>
                </a:ln>
                <a:solidFill>
                  <a:srgbClr val="0078D4"/>
                </a:solidFill>
                <a:effectLst/>
                <a:uLnTx/>
                <a:uFillTx/>
                <a:latin typeface="Segoe UI Semibold"/>
                <a:ea typeface="+mn-ea"/>
                <a:cs typeface="+mn-cs"/>
                <a:hlinkClick r:id="" action="ppaction://noaction">
                  <a:extLst>
                    <a:ext uri="{A12FA001-AC4F-418D-AE19-62706E023703}">
                      <ahyp:hlinkClr xmlns:ahyp="http://schemas.microsoft.com/office/drawing/2018/hyperlinkcolor" val="tx"/>
                    </a:ext>
                  </a:extLst>
                </a:hlinkClick>
              </a:rPr>
              <a:t>Added event considerations</a:t>
            </a:r>
            <a:r>
              <a:rPr kumimoji="0" lang="en-US" sz="1600" b="0" i="0" u="none" strike="noStrike" kern="0" cap="none" spc="0" normalizeH="0" baseline="0" noProof="0">
                <a:ln>
                  <a:noFill/>
                </a:ln>
                <a:solidFill>
                  <a:srgbClr val="0078D4"/>
                </a:solidFill>
                <a:effectLst/>
                <a:uLnTx/>
                <a:uFillTx/>
                <a:latin typeface="Segoe UI Semibold"/>
                <a:ea typeface="+mn-ea"/>
                <a:cs typeface="+mn-cs"/>
              </a:rPr>
              <a:t> </a:t>
            </a:r>
            <a:r>
              <a:rPr kumimoji="0" lang="en-US" sz="1600" b="0" i="0" u="none" strike="noStrike" kern="0" cap="none" spc="0" normalizeH="0" baseline="0" noProof="0">
                <a:ln>
                  <a:noFill/>
                </a:ln>
                <a:solidFill>
                  <a:prstClr val="black"/>
                </a:solidFill>
                <a:effectLst/>
                <a:uLnTx/>
                <a:uFillTx/>
                <a:latin typeface="Segoe UI"/>
                <a:ea typeface="+mn-ea"/>
                <a:cs typeface="+mn-cs"/>
              </a:rPr>
              <a:t>slide</a:t>
            </a:r>
          </a:p>
        </p:txBody>
      </p:sp>
      <p:grpSp>
        <p:nvGrpSpPr>
          <p:cNvPr id="37" name="Group 36">
            <a:extLst>
              <a:ext uri="{FF2B5EF4-FFF2-40B4-BE49-F238E27FC236}">
                <a16:creationId xmlns:a16="http://schemas.microsoft.com/office/drawing/2014/main" id="{01B742F0-1347-A027-4711-624956454CAE}"/>
              </a:ext>
              <a:ext uri="{C183D7F6-B498-43B3-948B-1728B52AA6E4}">
                <adec:decorative xmlns:adec="http://schemas.microsoft.com/office/drawing/2017/decorative" val="1"/>
              </a:ext>
            </a:extLst>
          </p:cNvPr>
          <p:cNvGrpSpPr/>
          <p:nvPr/>
        </p:nvGrpSpPr>
        <p:grpSpPr>
          <a:xfrm>
            <a:off x="1422854" y="1937352"/>
            <a:ext cx="854618" cy="854618"/>
            <a:chOff x="1525725" y="1893810"/>
            <a:chExt cx="854618" cy="854618"/>
          </a:xfrm>
        </p:grpSpPr>
        <p:sp>
          <p:nvSpPr>
            <p:cNvPr id="21" name="Oval 20">
              <a:extLst>
                <a:ext uri="{FF2B5EF4-FFF2-40B4-BE49-F238E27FC236}">
                  <a16:creationId xmlns:a16="http://schemas.microsoft.com/office/drawing/2014/main" id="{358E2AAC-3A69-FDE1-8077-B0E397119B1A}"/>
                </a:ext>
              </a:extLst>
            </p:cNvPr>
            <p:cNvSpPr>
              <a:spLocks/>
            </p:cNvSpPr>
            <p:nvPr/>
          </p:nvSpPr>
          <p:spPr bwMode="auto">
            <a:xfrm>
              <a:off x="1525725" y="1893810"/>
              <a:ext cx="854618" cy="854618"/>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 name="Graphic 31" descr="Icon of a group of three people">
              <a:extLst>
                <a:ext uri="{FF2B5EF4-FFF2-40B4-BE49-F238E27FC236}">
                  <a16:creationId xmlns:a16="http://schemas.microsoft.com/office/drawing/2014/main" id="{791E3AC1-673D-E7F0-F0F3-5247D4F56FC5}"/>
                </a:ext>
              </a:extLst>
            </p:cNvPr>
            <p:cNvSpPr/>
            <p:nvPr/>
          </p:nvSpPr>
          <p:spPr>
            <a:xfrm>
              <a:off x="1718828" y="2110279"/>
              <a:ext cx="468412" cy="421680"/>
            </a:xfrm>
            <a:custGeom>
              <a:avLst/>
              <a:gdLst>
                <a:gd name="connsiteX0" fmla="*/ 198244 w 311045"/>
                <a:gd name="connsiteY0" fmla="*/ 186583 h 280014"/>
                <a:gd name="connsiteX1" fmla="*/ 225454 w 311045"/>
                <a:gd name="connsiteY1" fmla="*/ 213793 h 280014"/>
                <a:gd name="connsiteX2" fmla="*/ 225437 w 311045"/>
                <a:gd name="connsiteY2" fmla="*/ 228752 h 280014"/>
                <a:gd name="connsiteX3" fmla="*/ 156524 w 311045"/>
                <a:gd name="connsiteY3" fmla="*/ 280014 h 280014"/>
                <a:gd name="connsiteX4" fmla="*/ 85517 w 311045"/>
                <a:gd name="connsiteY4" fmla="*/ 229342 h 280014"/>
                <a:gd name="connsiteX5" fmla="*/ 85517 w 311045"/>
                <a:gd name="connsiteY5" fmla="*/ 213793 h 280014"/>
                <a:gd name="connsiteX6" fmla="*/ 112727 w 311045"/>
                <a:gd name="connsiteY6" fmla="*/ 186583 h 280014"/>
                <a:gd name="connsiteX7" fmla="*/ 198244 w 311045"/>
                <a:gd name="connsiteY7" fmla="*/ 186583 h 280014"/>
                <a:gd name="connsiteX8" fmla="*/ 198244 w 311045"/>
                <a:gd name="connsiteY8" fmla="*/ 209906 h 280014"/>
                <a:gd name="connsiteX9" fmla="*/ 112727 w 311045"/>
                <a:gd name="connsiteY9" fmla="*/ 209906 h 280014"/>
                <a:gd name="connsiteX10" fmla="*/ 108840 w 311045"/>
                <a:gd name="connsiteY10" fmla="*/ 213793 h 280014"/>
                <a:gd name="connsiteX11" fmla="*/ 108840 w 311045"/>
                <a:gd name="connsiteY11" fmla="*/ 229342 h 280014"/>
                <a:gd name="connsiteX12" fmla="*/ 156524 w 311045"/>
                <a:gd name="connsiteY12" fmla="*/ 256692 h 280014"/>
                <a:gd name="connsiteX13" fmla="*/ 202132 w 311045"/>
                <a:gd name="connsiteY13" fmla="*/ 229373 h 280014"/>
                <a:gd name="connsiteX14" fmla="*/ 202132 w 311045"/>
                <a:gd name="connsiteY14" fmla="*/ 213793 h 280014"/>
                <a:gd name="connsiteX15" fmla="*/ 198244 w 311045"/>
                <a:gd name="connsiteY15" fmla="*/ 209906 h 280014"/>
                <a:gd name="connsiteX16" fmla="*/ 27210 w 311045"/>
                <a:gd name="connsiteY16" fmla="*/ 108840 h 280014"/>
                <a:gd name="connsiteX17" fmla="*/ 95251 w 311045"/>
                <a:gd name="connsiteY17" fmla="*/ 108842 h 280014"/>
                <a:gd name="connsiteX18" fmla="*/ 93292 w 311045"/>
                <a:gd name="connsiteY18" fmla="*/ 124389 h 280014"/>
                <a:gd name="connsiteX19" fmla="*/ 93771 w 311045"/>
                <a:gd name="connsiteY19" fmla="*/ 132152 h 280014"/>
                <a:gd name="connsiteX20" fmla="*/ 27210 w 311045"/>
                <a:gd name="connsiteY20" fmla="*/ 132163 h 280014"/>
                <a:gd name="connsiteX21" fmla="*/ 23323 w 311045"/>
                <a:gd name="connsiteY21" fmla="*/ 136050 h 280014"/>
                <a:gd name="connsiteX22" fmla="*/ 23323 w 311045"/>
                <a:gd name="connsiteY22" fmla="*/ 151599 h 280014"/>
                <a:gd name="connsiteX23" fmla="*/ 71007 w 311045"/>
                <a:gd name="connsiteY23" fmla="*/ 178949 h 280014"/>
                <a:gd name="connsiteX24" fmla="*/ 89783 w 311045"/>
                <a:gd name="connsiteY24" fmla="*/ 177747 h 280014"/>
                <a:gd name="connsiteX25" fmla="*/ 71542 w 311045"/>
                <a:gd name="connsiteY25" fmla="*/ 202259 h 280014"/>
                <a:gd name="connsiteX26" fmla="*/ 71007 w 311045"/>
                <a:gd name="connsiteY26" fmla="*/ 202272 h 280014"/>
                <a:gd name="connsiteX27" fmla="*/ 0 w 311045"/>
                <a:gd name="connsiteY27" fmla="*/ 151599 h 280014"/>
                <a:gd name="connsiteX28" fmla="*/ 0 w 311045"/>
                <a:gd name="connsiteY28" fmla="*/ 136050 h 280014"/>
                <a:gd name="connsiteX29" fmla="*/ 27210 w 311045"/>
                <a:gd name="connsiteY29" fmla="*/ 108840 h 280014"/>
                <a:gd name="connsiteX30" fmla="*/ 283762 w 311045"/>
                <a:gd name="connsiteY30" fmla="*/ 108840 h 280014"/>
                <a:gd name="connsiteX31" fmla="*/ 310972 w 311045"/>
                <a:gd name="connsiteY31" fmla="*/ 136050 h 280014"/>
                <a:gd name="connsiteX32" fmla="*/ 310955 w 311045"/>
                <a:gd name="connsiteY32" fmla="*/ 151009 h 280014"/>
                <a:gd name="connsiteX33" fmla="*/ 242042 w 311045"/>
                <a:gd name="connsiteY33" fmla="*/ 202272 h 280014"/>
                <a:gd name="connsiteX34" fmla="*/ 239425 w 311045"/>
                <a:gd name="connsiteY34" fmla="*/ 202245 h 280014"/>
                <a:gd name="connsiteX35" fmla="*/ 220484 w 311045"/>
                <a:gd name="connsiteY35" fmla="*/ 177266 h 280014"/>
                <a:gd name="connsiteX36" fmla="*/ 242042 w 311045"/>
                <a:gd name="connsiteY36" fmla="*/ 178949 h 280014"/>
                <a:gd name="connsiteX37" fmla="*/ 287649 w 311045"/>
                <a:gd name="connsiteY37" fmla="*/ 151630 h 280014"/>
                <a:gd name="connsiteX38" fmla="*/ 287649 w 311045"/>
                <a:gd name="connsiteY38" fmla="*/ 136050 h 280014"/>
                <a:gd name="connsiteX39" fmla="*/ 283762 w 311045"/>
                <a:gd name="connsiteY39" fmla="*/ 132163 h 280014"/>
                <a:gd name="connsiteX40" fmla="*/ 217201 w 311045"/>
                <a:gd name="connsiteY40" fmla="*/ 132151 h 280014"/>
                <a:gd name="connsiteX41" fmla="*/ 217680 w 311045"/>
                <a:gd name="connsiteY41" fmla="*/ 124389 h 280014"/>
                <a:gd name="connsiteX42" fmla="*/ 215721 w 311045"/>
                <a:gd name="connsiteY42" fmla="*/ 108842 h 280014"/>
                <a:gd name="connsiteX43" fmla="*/ 283762 w 311045"/>
                <a:gd name="connsiteY43" fmla="*/ 108840 h 280014"/>
                <a:gd name="connsiteX44" fmla="*/ 155486 w 311045"/>
                <a:gd name="connsiteY44" fmla="*/ 77743 h 280014"/>
                <a:gd name="connsiteX45" fmla="*/ 202132 w 311045"/>
                <a:gd name="connsiteY45" fmla="*/ 124389 h 280014"/>
                <a:gd name="connsiteX46" fmla="*/ 155486 w 311045"/>
                <a:gd name="connsiteY46" fmla="*/ 171034 h 280014"/>
                <a:gd name="connsiteX47" fmla="*/ 108840 w 311045"/>
                <a:gd name="connsiteY47" fmla="*/ 124389 h 280014"/>
                <a:gd name="connsiteX48" fmla="*/ 155486 w 311045"/>
                <a:gd name="connsiteY48" fmla="*/ 77743 h 280014"/>
                <a:gd name="connsiteX49" fmla="*/ 155486 w 311045"/>
                <a:gd name="connsiteY49" fmla="*/ 101066 h 280014"/>
                <a:gd name="connsiteX50" fmla="*/ 132163 w 311045"/>
                <a:gd name="connsiteY50" fmla="*/ 124389 h 280014"/>
                <a:gd name="connsiteX51" fmla="*/ 155486 w 311045"/>
                <a:gd name="connsiteY51" fmla="*/ 147712 h 280014"/>
                <a:gd name="connsiteX52" fmla="*/ 178809 w 311045"/>
                <a:gd name="connsiteY52" fmla="*/ 124389 h 280014"/>
                <a:gd name="connsiteX53" fmla="*/ 155486 w 311045"/>
                <a:gd name="connsiteY53" fmla="*/ 101066 h 280014"/>
                <a:gd name="connsiteX54" fmla="*/ 69969 w 311045"/>
                <a:gd name="connsiteY54" fmla="*/ 0 h 280014"/>
                <a:gd name="connsiteX55" fmla="*/ 116614 w 311045"/>
                <a:gd name="connsiteY55" fmla="*/ 46646 h 280014"/>
                <a:gd name="connsiteX56" fmla="*/ 69969 w 311045"/>
                <a:gd name="connsiteY56" fmla="*/ 93292 h 280014"/>
                <a:gd name="connsiteX57" fmla="*/ 23323 w 311045"/>
                <a:gd name="connsiteY57" fmla="*/ 46646 h 280014"/>
                <a:gd name="connsiteX58" fmla="*/ 69969 w 311045"/>
                <a:gd name="connsiteY58" fmla="*/ 0 h 280014"/>
                <a:gd name="connsiteX59" fmla="*/ 241003 w 311045"/>
                <a:gd name="connsiteY59" fmla="*/ 0 h 280014"/>
                <a:gd name="connsiteX60" fmla="*/ 287649 w 311045"/>
                <a:gd name="connsiteY60" fmla="*/ 46646 h 280014"/>
                <a:gd name="connsiteX61" fmla="*/ 241003 w 311045"/>
                <a:gd name="connsiteY61" fmla="*/ 93292 h 280014"/>
                <a:gd name="connsiteX62" fmla="*/ 194357 w 311045"/>
                <a:gd name="connsiteY62" fmla="*/ 46646 h 280014"/>
                <a:gd name="connsiteX63" fmla="*/ 241003 w 311045"/>
                <a:gd name="connsiteY63" fmla="*/ 0 h 280014"/>
                <a:gd name="connsiteX64" fmla="*/ 69969 w 311045"/>
                <a:gd name="connsiteY64" fmla="*/ 23323 h 280014"/>
                <a:gd name="connsiteX65" fmla="*/ 46646 w 311045"/>
                <a:gd name="connsiteY65" fmla="*/ 46646 h 280014"/>
                <a:gd name="connsiteX66" fmla="*/ 69969 w 311045"/>
                <a:gd name="connsiteY66" fmla="*/ 69969 h 280014"/>
                <a:gd name="connsiteX67" fmla="*/ 93292 w 311045"/>
                <a:gd name="connsiteY67" fmla="*/ 46646 h 280014"/>
                <a:gd name="connsiteX68" fmla="*/ 69969 w 311045"/>
                <a:gd name="connsiteY68" fmla="*/ 23323 h 280014"/>
                <a:gd name="connsiteX69" fmla="*/ 241003 w 311045"/>
                <a:gd name="connsiteY69" fmla="*/ 23323 h 280014"/>
                <a:gd name="connsiteX70" fmla="*/ 217680 w 311045"/>
                <a:gd name="connsiteY70" fmla="*/ 46646 h 280014"/>
                <a:gd name="connsiteX71" fmla="*/ 241003 w 311045"/>
                <a:gd name="connsiteY71" fmla="*/ 69969 h 280014"/>
                <a:gd name="connsiteX72" fmla="*/ 264326 w 311045"/>
                <a:gd name="connsiteY72" fmla="*/ 46646 h 280014"/>
                <a:gd name="connsiteX73" fmla="*/ 241003 w 311045"/>
                <a:gd name="connsiteY73" fmla="*/ 23323 h 28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11045" h="280014">
                  <a:moveTo>
                    <a:pt x="198244" y="186583"/>
                  </a:moveTo>
                  <a:cubicBezTo>
                    <a:pt x="213272" y="186583"/>
                    <a:pt x="225454" y="198765"/>
                    <a:pt x="225454" y="213793"/>
                  </a:cubicBezTo>
                  <a:lnTo>
                    <a:pt x="225437" y="228752"/>
                  </a:lnTo>
                  <a:cubicBezTo>
                    <a:pt x="227252" y="262790"/>
                    <a:pt x="201943" y="280014"/>
                    <a:pt x="156524" y="280014"/>
                  </a:cubicBezTo>
                  <a:cubicBezTo>
                    <a:pt x="111295" y="280014"/>
                    <a:pt x="85517" y="263070"/>
                    <a:pt x="85517" y="229342"/>
                  </a:cubicBezTo>
                  <a:lnTo>
                    <a:pt x="85517" y="213793"/>
                  </a:lnTo>
                  <a:cubicBezTo>
                    <a:pt x="85517" y="198765"/>
                    <a:pt x="97700" y="186583"/>
                    <a:pt x="112727" y="186583"/>
                  </a:cubicBezTo>
                  <a:lnTo>
                    <a:pt x="198244" y="186583"/>
                  </a:lnTo>
                  <a:close/>
                  <a:moveTo>
                    <a:pt x="198244" y="209906"/>
                  </a:moveTo>
                  <a:lnTo>
                    <a:pt x="112727" y="209906"/>
                  </a:lnTo>
                  <a:cubicBezTo>
                    <a:pt x="110580" y="209906"/>
                    <a:pt x="108840" y="211646"/>
                    <a:pt x="108840" y="213793"/>
                  </a:cubicBezTo>
                  <a:lnTo>
                    <a:pt x="108840" y="229342"/>
                  </a:lnTo>
                  <a:cubicBezTo>
                    <a:pt x="108840" y="247630"/>
                    <a:pt x="122627" y="256692"/>
                    <a:pt x="156524" y="256692"/>
                  </a:cubicBezTo>
                  <a:cubicBezTo>
                    <a:pt x="190232" y="256692"/>
                    <a:pt x="203103" y="247930"/>
                    <a:pt x="202132" y="229373"/>
                  </a:cubicBezTo>
                  <a:lnTo>
                    <a:pt x="202132" y="213793"/>
                  </a:lnTo>
                  <a:cubicBezTo>
                    <a:pt x="202132" y="211646"/>
                    <a:pt x="200392" y="209906"/>
                    <a:pt x="198244" y="209906"/>
                  </a:cubicBezTo>
                  <a:close/>
                  <a:moveTo>
                    <a:pt x="27210" y="108840"/>
                  </a:moveTo>
                  <a:lnTo>
                    <a:pt x="95251" y="108842"/>
                  </a:lnTo>
                  <a:cubicBezTo>
                    <a:pt x="93972" y="113811"/>
                    <a:pt x="93292" y="119020"/>
                    <a:pt x="93292" y="124389"/>
                  </a:cubicBezTo>
                  <a:cubicBezTo>
                    <a:pt x="93292" y="127018"/>
                    <a:pt x="93455" y="129610"/>
                    <a:pt x="93771" y="132152"/>
                  </a:cubicBezTo>
                  <a:lnTo>
                    <a:pt x="27210" y="132163"/>
                  </a:lnTo>
                  <a:cubicBezTo>
                    <a:pt x="25063" y="132163"/>
                    <a:pt x="23323" y="133903"/>
                    <a:pt x="23323" y="136050"/>
                  </a:cubicBezTo>
                  <a:lnTo>
                    <a:pt x="23323" y="151599"/>
                  </a:lnTo>
                  <a:cubicBezTo>
                    <a:pt x="23323" y="169887"/>
                    <a:pt x="37109" y="178949"/>
                    <a:pt x="71007" y="178949"/>
                  </a:cubicBezTo>
                  <a:cubicBezTo>
                    <a:pt x="78189" y="178949"/>
                    <a:pt x="84425" y="178552"/>
                    <a:pt x="89783" y="177747"/>
                  </a:cubicBezTo>
                  <a:cubicBezTo>
                    <a:pt x="80995" y="183313"/>
                    <a:pt x="74407" y="192009"/>
                    <a:pt x="71542" y="202259"/>
                  </a:cubicBezTo>
                  <a:lnTo>
                    <a:pt x="71007" y="202272"/>
                  </a:lnTo>
                  <a:cubicBezTo>
                    <a:pt x="25777" y="202272"/>
                    <a:pt x="0" y="185327"/>
                    <a:pt x="0" y="151599"/>
                  </a:cubicBezTo>
                  <a:lnTo>
                    <a:pt x="0" y="136050"/>
                  </a:lnTo>
                  <a:cubicBezTo>
                    <a:pt x="0" y="121022"/>
                    <a:pt x="12182" y="108840"/>
                    <a:pt x="27210" y="108840"/>
                  </a:cubicBezTo>
                  <a:close/>
                  <a:moveTo>
                    <a:pt x="283762" y="108840"/>
                  </a:moveTo>
                  <a:cubicBezTo>
                    <a:pt x="298789" y="108840"/>
                    <a:pt x="310972" y="121022"/>
                    <a:pt x="310972" y="136050"/>
                  </a:cubicBezTo>
                  <a:lnTo>
                    <a:pt x="310955" y="151009"/>
                  </a:lnTo>
                  <a:cubicBezTo>
                    <a:pt x="312769" y="185047"/>
                    <a:pt x="287461" y="202272"/>
                    <a:pt x="242042" y="202272"/>
                  </a:cubicBezTo>
                  <a:lnTo>
                    <a:pt x="239425" y="202245"/>
                  </a:lnTo>
                  <a:cubicBezTo>
                    <a:pt x="236480" y="191717"/>
                    <a:pt x="229606" y="182831"/>
                    <a:pt x="220484" y="177266"/>
                  </a:cubicBezTo>
                  <a:cubicBezTo>
                    <a:pt x="226496" y="178394"/>
                    <a:pt x="233653" y="178949"/>
                    <a:pt x="242042" y="178949"/>
                  </a:cubicBezTo>
                  <a:cubicBezTo>
                    <a:pt x="275749" y="178949"/>
                    <a:pt x="288621" y="170187"/>
                    <a:pt x="287649" y="151630"/>
                  </a:cubicBezTo>
                  <a:lnTo>
                    <a:pt x="287649" y="136050"/>
                  </a:lnTo>
                  <a:cubicBezTo>
                    <a:pt x="287649" y="133903"/>
                    <a:pt x="285909" y="132163"/>
                    <a:pt x="283762" y="132163"/>
                  </a:cubicBezTo>
                  <a:lnTo>
                    <a:pt x="217201" y="132151"/>
                  </a:lnTo>
                  <a:cubicBezTo>
                    <a:pt x="217517" y="129608"/>
                    <a:pt x="217680" y="127018"/>
                    <a:pt x="217680" y="124389"/>
                  </a:cubicBezTo>
                  <a:cubicBezTo>
                    <a:pt x="217680" y="119020"/>
                    <a:pt x="217001" y="113811"/>
                    <a:pt x="215721" y="108842"/>
                  </a:cubicBezTo>
                  <a:lnTo>
                    <a:pt x="283762" y="108840"/>
                  </a:lnTo>
                  <a:close/>
                  <a:moveTo>
                    <a:pt x="155486" y="77743"/>
                  </a:moveTo>
                  <a:cubicBezTo>
                    <a:pt x="181248" y="77743"/>
                    <a:pt x="202132" y="98627"/>
                    <a:pt x="202132" y="124389"/>
                  </a:cubicBezTo>
                  <a:cubicBezTo>
                    <a:pt x="202132" y="150151"/>
                    <a:pt x="181248" y="171034"/>
                    <a:pt x="155486" y="171034"/>
                  </a:cubicBezTo>
                  <a:cubicBezTo>
                    <a:pt x="129723" y="171034"/>
                    <a:pt x="108840" y="150151"/>
                    <a:pt x="108840" y="124389"/>
                  </a:cubicBezTo>
                  <a:cubicBezTo>
                    <a:pt x="108840" y="98627"/>
                    <a:pt x="129723" y="77743"/>
                    <a:pt x="155486" y="77743"/>
                  </a:cubicBezTo>
                  <a:close/>
                  <a:moveTo>
                    <a:pt x="155486" y="101066"/>
                  </a:moveTo>
                  <a:cubicBezTo>
                    <a:pt x="142605" y="101066"/>
                    <a:pt x="132163" y="111508"/>
                    <a:pt x="132163" y="124389"/>
                  </a:cubicBezTo>
                  <a:cubicBezTo>
                    <a:pt x="132163" y="137269"/>
                    <a:pt x="142605" y="147712"/>
                    <a:pt x="155486" y="147712"/>
                  </a:cubicBezTo>
                  <a:cubicBezTo>
                    <a:pt x="168366" y="147712"/>
                    <a:pt x="178809" y="137269"/>
                    <a:pt x="178809" y="124389"/>
                  </a:cubicBezTo>
                  <a:cubicBezTo>
                    <a:pt x="178809" y="111508"/>
                    <a:pt x="168366" y="101066"/>
                    <a:pt x="155486" y="101066"/>
                  </a:cubicBezTo>
                  <a:close/>
                  <a:moveTo>
                    <a:pt x="69969" y="0"/>
                  </a:moveTo>
                  <a:cubicBezTo>
                    <a:pt x="95730" y="0"/>
                    <a:pt x="116614" y="20884"/>
                    <a:pt x="116614" y="46646"/>
                  </a:cubicBezTo>
                  <a:cubicBezTo>
                    <a:pt x="116614" y="72407"/>
                    <a:pt x="95730" y="93292"/>
                    <a:pt x="69969" y="93292"/>
                  </a:cubicBezTo>
                  <a:cubicBezTo>
                    <a:pt x="44207" y="93292"/>
                    <a:pt x="23323" y="72407"/>
                    <a:pt x="23323" y="46646"/>
                  </a:cubicBezTo>
                  <a:cubicBezTo>
                    <a:pt x="23323" y="20884"/>
                    <a:pt x="44207" y="0"/>
                    <a:pt x="69969" y="0"/>
                  </a:cubicBezTo>
                  <a:close/>
                  <a:moveTo>
                    <a:pt x="241003" y="0"/>
                  </a:moveTo>
                  <a:cubicBezTo>
                    <a:pt x="266766" y="0"/>
                    <a:pt x="287649" y="20884"/>
                    <a:pt x="287649" y="46646"/>
                  </a:cubicBezTo>
                  <a:cubicBezTo>
                    <a:pt x="287649" y="72407"/>
                    <a:pt x="266766" y="93292"/>
                    <a:pt x="241003" y="93292"/>
                  </a:cubicBezTo>
                  <a:cubicBezTo>
                    <a:pt x="215241" y="93292"/>
                    <a:pt x="194357" y="72407"/>
                    <a:pt x="194357" y="46646"/>
                  </a:cubicBezTo>
                  <a:cubicBezTo>
                    <a:pt x="194357" y="20884"/>
                    <a:pt x="215241" y="0"/>
                    <a:pt x="241003" y="0"/>
                  </a:cubicBezTo>
                  <a:close/>
                  <a:moveTo>
                    <a:pt x="69969" y="23323"/>
                  </a:moveTo>
                  <a:cubicBezTo>
                    <a:pt x="57088" y="23323"/>
                    <a:pt x="46646" y="33765"/>
                    <a:pt x="46646" y="46646"/>
                  </a:cubicBezTo>
                  <a:cubicBezTo>
                    <a:pt x="46646" y="59527"/>
                    <a:pt x="57088" y="69969"/>
                    <a:pt x="69969" y="69969"/>
                  </a:cubicBezTo>
                  <a:cubicBezTo>
                    <a:pt x="82850" y="69969"/>
                    <a:pt x="93292" y="59527"/>
                    <a:pt x="93292" y="46646"/>
                  </a:cubicBezTo>
                  <a:cubicBezTo>
                    <a:pt x="93292" y="33765"/>
                    <a:pt x="82850" y="23323"/>
                    <a:pt x="69969" y="23323"/>
                  </a:cubicBezTo>
                  <a:close/>
                  <a:moveTo>
                    <a:pt x="241003" y="23323"/>
                  </a:moveTo>
                  <a:cubicBezTo>
                    <a:pt x="228123" y="23323"/>
                    <a:pt x="217680" y="33765"/>
                    <a:pt x="217680" y="46646"/>
                  </a:cubicBezTo>
                  <a:cubicBezTo>
                    <a:pt x="217680" y="59527"/>
                    <a:pt x="228123" y="69969"/>
                    <a:pt x="241003" y="69969"/>
                  </a:cubicBezTo>
                  <a:cubicBezTo>
                    <a:pt x="253883" y="69969"/>
                    <a:pt x="264326" y="59527"/>
                    <a:pt x="264326" y="46646"/>
                  </a:cubicBezTo>
                  <a:cubicBezTo>
                    <a:pt x="264326" y="33765"/>
                    <a:pt x="253883" y="23323"/>
                    <a:pt x="241003" y="23323"/>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38" name="Group 37">
            <a:extLst>
              <a:ext uri="{FF2B5EF4-FFF2-40B4-BE49-F238E27FC236}">
                <a16:creationId xmlns:a16="http://schemas.microsoft.com/office/drawing/2014/main" id="{59EBA296-56E2-44F9-D3D6-879FD767E19A}"/>
              </a:ext>
              <a:ext uri="{C183D7F6-B498-43B3-948B-1728B52AA6E4}">
                <adec:decorative xmlns:adec="http://schemas.microsoft.com/office/drawing/2017/decorative" val="1"/>
              </a:ext>
            </a:extLst>
          </p:cNvPr>
          <p:cNvGrpSpPr/>
          <p:nvPr/>
        </p:nvGrpSpPr>
        <p:grpSpPr>
          <a:xfrm>
            <a:off x="4253412" y="1937352"/>
            <a:ext cx="854618" cy="854618"/>
            <a:chOff x="4287703" y="1893810"/>
            <a:chExt cx="854618" cy="854618"/>
          </a:xfrm>
        </p:grpSpPr>
        <p:sp>
          <p:nvSpPr>
            <p:cNvPr id="22" name="Oval 21">
              <a:extLst>
                <a:ext uri="{FF2B5EF4-FFF2-40B4-BE49-F238E27FC236}">
                  <a16:creationId xmlns:a16="http://schemas.microsoft.com/office/drawing/2014/main" id="{81D290C9-857E-CBCC-6B9A-EBBAA4316AA9}"/>
                </a:ext>
              </a:extLst>
            </p:cNvPr>
            <p:cNvSpPr>
              <a:spLocks/>
            </p:cNvSpPr>
            <p:nvPr/>
          </p:nvSpPr>
          <p:spPr bwMode="auto">
            <a:xfrm>
              <a:off x="4287703" y="1893810"/>
              <a:ext cx="854618" cy="854618"/>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Graphic 32">
              <a:extLst>
                <a:ext uri="{FF2B5EF4-FFF2-40B4-BE49-F238E27FC236}">
                  <a16:creationId xmlns:a16="http://schemas.microsoft.com/office/drawing/2014/main" id="{47BBD372-0282-7BF4-4C9D-D121B7D4087A}"/>
                </a:ext>
              </a:extLst>
            </p:cNvPr>
            <p:cNvSpPr/>
            <p:nvPr/>
          </p:nvSpPr>
          <p:spPr>
            <a:xfrm>
              <a:off x="4471015" y="2162563"/>
              <a:ext cx="487994" cy="317112"/>
            </a:xfrm>
            <a:custGeom>
              <a:avLst/>
              <a:gdLst>
                <a:gd name="connsiteX0" fmla="*/ 7207 w 190551"/>
                <a:gd name="connsiteY0" fmla="*/ 109538 h 123825"/>
                <a:gd name="connsiteX1" fmla="*/ 183419 w 190551"/>
                <a:gd name="connsiteY1" fmla="*/ 109538 h 123825"/>
                <a:gd name="connsiteX2" fmla="*/ 190552 w 190551"/>
                <a:gd name="connsiteY2" fmla="*/ 116693 h 123825"/>
                <a:gd name="connsiteX3" fmla="*/ 184381 w 190551"/>
                <a:gd name="connsiteY3" fmla="*/ 123758 h 123825"/>
                <a:gd name="connsiteX4" fmla="*/ 183419 w 190551"/>
                <a:gd name="connsiteY4" fmla="*/ 123825 h 123825"/>
                <a:gd name="connsiteX5" fmla="*/ 7216 w 190551"/>
                <a:gd name="connsiteY5" fmla="*/ 123825 h 123825"/>
                <a:gd name="connsiteX6" fmla="*/ 0 w 190551"/>
                <a:gd name="connsiteY6" fmla="*/ 116755 h 123825"/>
                <a:gd name="connsiteX7" fmla="*/ 6245 w 190551"/>
                <a:gd name="connsiteY7" fmla="*/ 109595 h 123825"/>
                <a:gd name="connsiteX8" fmla="*/ 7216 w 190551"/>
                <a:gd name="connsiteY8" fmla="*/ 109538 h 123825"/>
                <a:gd name="connsiteX9" fmla="*/ 183410 w 190551"/>
                <a:gd name="connsiteY9" fmla="*/ 109538 h 123825"/>
                <a:gd name="connsiteX10" fmla="*/ 7216 w 190551"/>
                <a:gd name="connsiteY10" fmla="*/ 109538 h 123825"/>
                <a:gd name="connsiteX11" fmla="*/ 154844 w 190551"/>
                <a:gd name="connsiteY11" fmla="*/ 0 h 123825"/>
                <a:gd name="connsiteX12" fmla="*/ 171513 w 190551"/>
                <a:gd name="connsiteY12" fmla="*/ 16669 h 123825"/>
                <a:gd name="connsiteX13" fmla="*/ 171513 w 190551"/>
                <a:gd name="connsiteY13" fmla="*/ 88106 h 123825"/>
                <a:gd name="connsiteX14" fmla="*/ 154844 w 190551"/>
                <a:gd name="connsiteY14" fmla="*/ 104775 h 123825"/>
                <a:gd name="connsiteX15" fmla="*/ 35782 w 190551"/>
                <a:gd name="connsiteY15" fmla="*/ 104775 h 123825"/>
                <a:gd name="connsiteX16" fmla="*/ 19113 w 190551"/>
                <a:gd name="connsiteY16" fmla="*/ 88106 h 123825"/>
                <a:gd name="connsiteX17" fmla="*/ 19113 w 190551"/>
                <a:gd name="connsiteY17" fmla="*/ 16669 h 123825"/>
                <a:gd name="connsiteX18" fmla="*/ 35782 w 190551"/>
                <a:gd name="connsiteY18" fmla="*/ 0 h 123825"/>
                <a:gd name="connsiteX19" fmla="*/ 154844 w 190551"/>
                <a:gd name="connsiteY19" fmla="*/ 0 h 123825"/>
                <a:gd name="connsiteX20" fmla="*/ 154844 w 190551"/>
                <a:gd name="connsiteY20" fmla="*/ 14288 h 123825"/>
                <a:gd name="connsiteX21" fmla="*/ 35782 w 190551"/>
                <a:gd name="connsiteY21" fmla="*/ 14288 h 123825"/>
                <a:gd name="connsiteX22" fmla="*/ 33401 w 190551"/>
                <a:gd name="connsiteY22" fmla="*/ 16669 h 123825"/>
                <a:gd name="connsiteX23" fmla="*/ 33401 w 190551"/>
                <a:gd name="connsiteY23" fmla="*/ 88106 h 123825"/>
                <a:gd name="connsiteX24" fmla="*/ 35782 w 190551"/>
                <a:gd name="connsiteY24" fmla="*/ 90488 h 123825"/>
                <a:gd name="connsiteX25" fmla="*/ 154844 w 190551"/>
                <a:gd name="connsiteY25" fmla="*/ 90488 h 123825"/>
                <a:gd name="connsiteX26" fmla="*/ 157226 w 190551"/>
                <a:gd name="connsiteY26" fmla="*/ 88106 h 123825"/>
                <a:gd name="connsiteX27" fmla="*/ 157226 w 190551"/>
                <a:gd name="connsiteY27" fmla="*/ 16669 h 123825"/>
                <a:gd name="connsiteX28" fmla="*/ 154844 w 190551"/>
                <a:gd name="connsiteY28" fmla="*/ 14288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0551" h="123825">
                  <a:moveTo>
                    <a:pt x="7207" y="109538"/>
                  </a:moveTo>
                  <a:lnTo>
                    <a:pt x="183419" y="109538"/>
                  </a:lnTo>
                  <a:cubicBezTo>
                    <a:pt x="187365" y="109544"/>
                    <a:pt x="190558" y="112747"/>
                    <a:pt x="190552" y="116693"/>
                  </a:cubicBezTo>
                  <a:cubicBezTo>
                    <a:pt x="190546" y="120258"/>
                    <a:pt x="187913" y="123273"/>
                    <a:pt x="184381" y="123758"/>
                  </a:cubicBezTo>
                  <a:lnTo>
                    <a:pt x="183419" y="123825"/>
                  </a:lnTo>
                  <a:lnTo>
                    <a:pt x="7216" y="123825"/>
                  </a:lnTo>
                  <a:cubicBezTo>
                    <a:pt x="3271" y="123865"/>
                    <a:pt x="40" y="120700"/>
                    <a:pt x="0" y="116755"/>
                  </a:cubicBezTo>
                  <a:cubicBezTo>
                    <a:pt x="-36" y="113129"/>
                    <a:pt x="2648" y="110051"/>
                    <a:pt x="6245" y="109595"/>
                  </a:cubicBezTo>
                  <a:lnTo>
                    <a:pt x="7216" y="109538"/>
                  </a:lnTo>
                  <a:lnTo>
                    <a:pt x="183410" y="109538"/>
                  </a:lnTo>
                  <a:lnTo>
                    <a:pt x="7216" y="109538"/>
                  </a:lnTo>
                  <a:close/>
                  <a:moveTo>
                    <a:pt x="154844" y="0"/>
                  </a:moveTo>
                  <a:cubicBezTo>
                    <a:pt x="164046" y="0"/>
                    <a:pt x="171513" y="7468"/>
                    <a:pt x="171513" y="16669"/>
                  </a:cubicBezTo>
                  <a:lnTo>
                    <a:pt x="171513" y="88106"/>
                  </a:lnTo>
                  <a:cubicBezTo>
                    <a:pt x="171513" y="97312"/>
                    <a:pt x="164050" y="104775"/>
                    <a:pt x="154844" y="104775"/>
                  </a:cubicBezTo>
                  <a:lnTo>
                    <a:pt x="35782" y="104775"/>
                  </a:lnTo>
                  <a:cubicBezTo>
                    <a:pt x="26576" y="104775"/>
                    <a:pt x="19113" y="97312"/>
                    <a:pt x="19113" y="88106"/>
                  </a:cubicBezTo>
                  <a:lnTo>
                    <a:pt x="19113" y="16669"/>
                  </a:lnTo>
                  <a:cubicBezTo>
                    <a:pt x="19113" y="7468"/>
                    <a:pt x="26571" y="0"/>
                    <a:pt x="35782" y="0"/>
                  </a:cubicBezTo>
                  <a:lnTo>
                    <a:pt x="154844" y="0"/>
                  </a:lnTo>
                  <a:close/>
                  <a:moveTo>
                    <a:pt x="154844" y="14288"/>
                  </a:moveTo>
                  <a:lnTo>
                    <a:pt x="35782" y="14288"/>
                  </a:lnTo>
                  <a:cubicBezTo>
                    <a:pt x="34467" y="14288"/>
                    <a:pt x="33401" y="15354"/>
                    <a:pt x="33401" y="16669"/>
                  </a:cubicBezTo>
                  <a:lnTo>
                    <a:pt x="33401" y="88106"/>
                  </a:lnTo>
                  <a:cubicBezTo>
                    <a:pt x="33401" y="89421"/>
                    <a:pt x="34467" y="90488"/>
                    <a:pt x="35782" y="90488"/>
                  </a:cubicBezTo>
                  <a:lnTo>
                    <a:pt x="154844" y="90488"/>
                  </a:lnTo>
                  <a:cubicBezTo>
                    <a:pt x="156160" y="90488"/>
                    <a:pt x="157226" y="89422"/>
                    <a:pt x="157226" y="88106"/>
                  </a:cubicBezTo>
                  <a:lnTo>
                    <a:pt x="157226" y="16669"/>
                  </a:lnTo>
                  <a:cubicBezTo>
                    <a:pt x="157226" y="15354"/>
                    <a:pt x="156160" y="14288"/>
                    <a:pt x="154844" y="14288"/>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39" name="Group 38">
            <a:extLst>
              <a:ext uri="{FF2B5EF4-FFF2-40B4-BE49-F238E27FC236}">
                <a16:creationId xmlns:a16="http://schemas.microsoft.com/office/drawing/2014/main" id="{1B0428D7-D5D6-3C62-E20C-358E90C35591}"/>
              </a:ext>
              <a:ext uri="{C183D7F6-B498-43B3-948B-1728B52AA6E4}">
                <adec:decorative xmlns:adec="http://schemas.microsoft.com/office/drawing/2017/decorative" val="1"/>
              </a:ext>
            </a:extLst>
          </p:cNvPr>
          <p:cNvGrpSpPr/>
          <p:nvPr/>
        </p:nvGrpSpPr>
        <p:grpSpPr>
          <a:xfrm>
            <a:off x="7083970" y="1937352"/>
            <a:ext cx="854618" cy="854618"/>
            <a:chOff x="7049681" y="1893810"/>
            <a:chExt cx="854618" cy="854618"/>
          </a:xfrm>
        </p:grpSpPr>
        <p:sp>
          <p:nvSpPr>
            <p:cNvPr id="23" name="Oval 22">
              <a:extLst>
                <a:ext uri="{FF2B5EF4-FFF2-40B4-BE49-F238E27FC236}">
                  <a16:creationId xmlns:a16="http://schemas.microsoft.com/office/drawing/2014/main" id="{5A17DAE7-2398-BA8F-D749-1AA9B114B474}"/>
                </a:ext>
              </a:extLst>
            </p:cNvPr>
            <p:cNvSpPr>
              <a:spLocks/>
            </p:cNvSpPr>
            <p:nvPr/>
          </p:nvSpPr>
          <p:spPr bwMode="auto">
            <a:xfrm>
              <a:off x="7049681" y="1893810"/>
              <a:ext cx="854618" cy="854618"/>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 name="Graphic 8" descr="Icon of an AI robot">
              <a:extLst>
                <a:ext uri="{FF2B5EF4-FFF2-40B4-BE49-F238E27FC236}">
                  <a16:creationId xmlns:a16="http://schemas.microsoft.com/office/drawing/2014/main" id="{CC059C4A-8D70-CCE8-BF05-358DC1274F9B}"/>
                </a:ext>
              </a:extLst>
            </p:cNvPr>
            <p:cNvSpPr>
              <a:spLocks noChangeAspect="1"/>
            </p:cNvSpPr>
            <p:nvPr/>
          </p:nvSpPr>
          <p:spPr>
            <a:xfrm>
              <a:off x="7272688" y="2065725"/>
              <a:ext cx="408606" cy="510788"/>
            </a:xfrm>
            <a:custGeom>
              <a:avLst/>
              <a:gdLst>
                <a:gd name="connsiteX0" fmla="*/ 310304 w 361083"/>
                <a:gd name="connsiteY0" fmla="*/ 270807 h 451381"/>
                <a:gd name="connsiteX1" fmla="*/ 361083 w 361083"/>
                <a:gd name="connsiteY1" fmla="*/ 321586 h 451381"/>
                <a:gd name="connsiteX2" fmla="*/ 361083 w 361083"/>
                <a:gd name="connsiteY2" fmla="*/ 342013 h 451381"/>
                <a:gd name="connsiteX3" fmla="*/ 331579 w 361083"/>
                <a:gd name="connsiteY3" fmla="*/ 406227 h 451381"/>
                <a:gd name="connsiteX4" fmla="*/ 180468 w 361083"/>
                <a:gd name="connsiteY4" fmla="*/ 451382 h 451381"/>
                <a:gd name="connsiteX5" fmla="*/ 29458 w 361083"/>
                <a:gd name="connsiteY5" fmla="*/ 406238 h 451381"/>
                <a:gd name="connsiteX6" fmla="*/ 0 w 361083"/>
                <a:gd name="connsiteY6" fmla="*/ 342063 h 451381"/>
                <a:gd name="connsiteX7" fmla="*/ 0 w 361083"/>
                <a:gd name="connsiteY7" fmla="*/ 321586 h 451381"/>
                <a:gd name="connsiteX8" fmla="*/ 50779 w 361083"/>
                <a:gd name="connsiteY8" fmla="*/ 270807 h 451381"/>
                <a:gd name="connsiteX9" fmla="*/ 310304 w 361083"/>
                <a:gd name="connsiteY9" fmla="*/ 270807 h 451381"/>
                <a:gd name="connsiteX10" fmla="*/ 310304 w 361083"/>
                <a:gd name="connsiteY10" fmla="*/ 304660 h 451381"/>
                <a:gd name="connsiteX11" fmla="*/ 50779 w 361083"/>
                <a:gd name="connsiteY11" fmla="*/ 304660 h 451381"/>
                <a:gd name="connsiteX12" fmla="*/ 33853 w 361083"/>
                <a:gd name="connsiteY12" fmla="*/ 321586 h 451381"/>
                <a:gd name="connsiteX13" fmla="*/ 33853 w 361083"/>
                <a:gd name="connsiteY13" fmla="*/ 342063 h 451381"/>
                <a:gd name="connsiteX14" fmla="*/ 51527 w 361083"/>
                <a:gd name="connsiteY14" fmla="*/ 380569 h 451381"/>
                <a:gd name="connsiteX15" fmla="*/ 180468 w 361083"/>
                <a:gd name="connsiteY15" fmla="*/ 417529 h 451381"/>
                <a:gd name="connsiteX16" fmla="*/ 309530 w 361083"/>
                <a:gd name="connsiteY16" fmla="*/ 380542 h 451381"/>
                <a:gd name="connsiteX17" fmla="*/ 327231 w 361083"/>
                <a:gd name="connsiteY17" fmla="*/ 342013 h 451381"/>
                <a:gd name="connsiteX18" fmla="*/ 327231 w 361083"/>
                <a:gd name="connsiteY18" fmla="*/ 321586 h 451381"/>
                <a:gd name="connsiteX19" fmla="*/ 310304 w 361083"/>
                <a:gd name="connsiteY19" fmla="*/ 304660 h 451381"/>
                <a:gd name="connsiteX20" fmla="*/ 178177 w 361083"/>
                <a:gd name="connsiteY20" fmla="*/ 155 h 451381"/>
                <a:gd name="connsiteX21" fmla="*/ 180475 w 361083"/>
                <a:gd name="connsiteY21" fmla="*/ 0 h 451381"/>
                <a:gd name="connsiteX22" fmla="*/ 197245 w 361083"/>
                <a:gd name="connsiteY22" fmla="*/ 14630 h 451381"/>
                <a:gd name="connsiteX23" fmla="*/ 197401 w 361083"/>
                <a:gd name="connsiteY23" fmla="*/ 16926 h 451381"/>
                <a:gd name="connsiteX24" fmla="*/ 197383 w 361083"/>
                <a:gd name="connsiteY24" fmla="*/ 33830 h 451381"/>
                <a:gd name="connsiteX25" fmla="*/ 276384 w 361083"/>
                <a:gd name="connsiteY25" fmla="*/ 33842 h 451381"/>
                <a:gd name="connsiteX26" fmla="*/ 327163 w 361083"/>
                <a:gd name="connsiteY26" fmla="*/ 84621 h 451381"/>
                <a:gd name="connsiteX27" fmla="*/ 327163 w 361083"/>
                <a:gd name="connsiteY27" fmla="*/ 186282 h 451381"/>
                <a:gd name="connsiteX28" fmla="*/ 276384 w 361083"/>
                <a:gd name="connsiteY28" fmla="*/ 237061 h 451381"/>
                <a:gd name="connsiteX29" fmla="*/ 84551 w 361083"/>
                <a:gd name="connsiteY29" fmla="*/ 237061 h 451381"/>
                <a:gd name="connsiteX30" fmla="*/ 33773 w 361083"/>
                <a:gd name="connsiteY30" fmla="*/ 186282 h 451381"/>
                <a:gd name="connsiteX31" fmla="*/ 33773 w 361083"/>
                <a:gd name="connsiteY31" fmla="*/ 84621 h 451381"/>
                <a:gd name="connsiteX32" fmla="*/ 84551 w 361083"/>
                <a:gd name="connsiteY32" fmla="*/ 33842 h 451381"/>
                <a:gd name="connsiteX33" fmla="*/ 163531 w 361083"/>
                <a:gd name="connsiteY33" fmla="*/ 33830 h 451381"/>
                <a:gd name="connsiteX34" fmla="*/ 163549 w 361083"/>
                <a:gd name="connsiteY34" fmla="*/ 16926 h 451381"/>
                <a:gd name="connsiteX35" fmla="*/ 178177 w 361083"/>
                <a:gd name="connsiteY35" fmla="*/ 155 h 451381"/>
                <a:gd name="connsiteX36" fmla="*/ 180475 w 361083"/>
                <a:gd name="connsiteY36" fmla="*/ 0 h 451381"/>
                <a:gd name="connsiteX37" fmla="*/ 178177 w 361083"/>
                <a:gd name="connsiteY37" fmla="*/ 155 h 451381"/>
                <a:gd name="connsiteX38" fmla="*/ 276384 w 361083"/>
                <a:gd name="connsiteY38" fmla="*/ 67694 h 451381"/>
                <a:gd name="connsiteX39" fmla="*/ 84551 w 361083"/>
                <a:gd name="connsiteY39" fmla="*/ 67694 h 451381"/>
                <a:gd name="connsiteX40" fmla="*/ 67625 w 361083"/>
                <a:gd name="connsiteY40" fmla="*/ 84621 h 451381"/>
                <a:gd name="connsiteX41" fmla="*/ 67625 w 361083"/>
                <a:gd name="connsiteY41" fmla="*/ 186282 h 451381"/>
                <a:gd name="connsiteX42" fmla="*/ 84551 w 361083"/>
                <a:gd name="connsiteY42" fmla="*/ 203208 h 451381"/>
                <a:gd name="connsiteX43" fmla="*/ 276384 w 361083"/>
                <a:gd name="connsiteY43" fmla="*/ 203208 h 451381"/>
                <a:gd name="connsiteX44" fmla="*/ 293310 w 361083"/>
                <a:gd name="connsiteY44" fmla="*/ 186282 h 451381"/>
                <a:gd name="connsiteX45" fmla="*/ 293310 w 361083"/>
                <a:gd name="connsiteY45" fmla="*/ 84621 h 451381"/>
                <a:gd name="connsiteX46" fmla="*/ 276384 w 361083"/>
                <a:gd name="connsiteY46" fmla="*/ 67694 h 451381"/>
                <a:gd name="connsiteX47" fmla="*/ 129672 w 361083"/>
                <a:gd name="connsiteY47" fmla="*/ 101547 h 451381"/>
                <a:gd name="connsiteX48" fmla="*/ 157866 w 361083"/>
                <a:gd name="connsiteY48" fmla="*/ 129741 h 451381"/>
                <a:gd name="connsiteX49" fmla="*/ 129672 w 361083"/>
                <a:gd name="connsiteY49" fmla="*/ 157936 h 451381"/>
                <a:gd name="connsiteX50" fmla="*/ 101478 w 361083"/>
                <a:gd name="connsiteY50" fmla="*/ 129741 h 451381"/>
                <a:gd name="connsiteX51" fmla="*/ 129672 w 361083"/>
                <a:gd name="connsiteY51" fmla="*/ 101547 h 451381"/>
                <a:gd name="connsiteX52" fmla="*/ 231067 w 361083"/>
                <a:gd name="connsiteY52" fmla="*/ 101547 h 451381"/>
                <a:gd name="connsiteX53" fmla="*/ 259261 w 361083"/>
                <a:gd name="connsiteY53" fmla="*/ 129741 h 451381"/>
                <a:gd name="connsiteX54" fmla="*/ 231067 w 361083"/>
                <a:gd name="connsiteY54" fmla="*/ 157936 h 451381"/>
                <a:gd name="connsiteX55" fmla="*/ 202872 w 361083"/>
                <a:gd name="connsiteY55" fmla="*/ 129741 h 451381"/>
                <a:gd name="connsiteX56" fmla="*/ 231067 w 361083"/>
                <a:gd name="connsiteY56" fmla="*/ 101547 h 45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1083" h="451381">
                  <a:moveTo>
                    <a:pt x="310304" y="270807"/>
                  </a:moveTo>
                  <a:cubicBezTo>
                    <a:pt x="338350" y="270807"/>
                    <a:pt x="361083" y="293543"/>
                    <a:pt x="361083" y="321586"/>
                  </a:cubicBezTo>
                  <a:lnTo>
                    <a:pt x="361083" y="342013"/>
                  </a:lnTo>
                  <a:cubicBezTo>
                    <a:pt x="361083" y="366696"/>
                    <a:pt x="350309" y="390149"/>
                    <a:pt x="331579" y="406227"/>
                  </a:cubicBezTo>
                  <a:cubicBezTo>
                    <a:pt x="296251" y="436557"/>
                    <a:pt x="245691" y="451382"/>
                    <a:pt x="180468" y="451382"/>
                  </a:cubicBezTo>
                  <a:cubicBezTo>
                    <a:pt x="115256" y="451382"/>
                    <a:pt x="64729" y="436563"/>
                    <a:pt x="29458" y="406238"/>
                  </a:cubicBezTo>
                  <a:cubicBezTo>
                    <a:pt x="10757" y="390161"/>
                    <a:pt x="0" y="366726"/>
                    <a:pt x="0" y="342063"/>
                  </a:cubicBezTo>
                  <a:lnTo>
                    <a:pt x="0" y="321586"/>
                  </a:lnTo>
                  <a:cubicBezTo>
                    <a:pt x="0" y="293543"/>
                    <a:pt x="22735" y="270807"/>
                    <a:pt x="50779" y="270807"/>
                  </a:cubicBezTo>
                  <a:lnTo>
                    <a:pt x="310304" y="270807"/>
                  </a:lnTo>
                  <a:close/>
                  <a:moveTo>
                    <a:pt x="310304" y="304660"/>
                  </a:moveTo>
                  <a:lnTo>
                    <a:pt x="50779" y="304660"/>
                  </a:lnTo>
                  <a:cubicBezTo>
                    <a:pt x="41431" y="304660"/>
                    <a:pt x="33853" y="312239"/>
                    <a:pt x="33853" y="321586"/>
                  </a:cubicBezTo>
                  <a:lnTo>
                    <a:pt x="33853" y="342063"/>
                  </a:lnTo>
                  <a:cubicBezTo>
                    <a:pt x="33853" y="356861"/>
                    <a:pt x="40307" y="370921"/>
                    <a:pt x="51527" y="380569"/>
                  </a:cubicBezTo>
                  <a:cubicBezTo>
                    <a:pt x="79920" y="404979"/>
                    <a:pt x="122710" y="417529"/>
                    <a:pt x="180468" y="417529"/>
                  </a:cubicBezTo>
                  <a:cubicBezTo>
                    <a:pt x="238241" y="417529"/>
                    <a:pt x="281074" y="404972"/>
                    <a:pt x="309530" y="380542"/>
                  </a:cubicBezTo>
                  <a:cubicBezTo>
                    <a:pt x="320765" y="370894"/>
                    <a:pt x="327231" y="356822"/>
                    <a:pt x="327231" y="342013"/>
                  </a:cubicBezTo>
                  <a:lnTo>
                    <a:pt x="327231" y="321586"/>
                  </a:lnTo>
                  <a:cubicBezTo>
                    <a:pt x="327231" y="312239"/>
                    <a:pt x="319652" y="304660"/>
                    <a:pt x="310304" y="304660"/>
                  </a:cubicBezTo>
                  <a:close/>
                  <a:moveTo>
                    <a:pt x="178177" y="155"/>
                  </a:moveTo>
                  <a:lnTo>
                    <a:pt x="180475" y="0"/>
                  </a:lnTo>
                  <a:cubicBezTo>
                    <a:pt x="189044" y="0"/>
                    <a:pt x="196126" y="6368"/>
                    <a:pt x="197245" y="14630"/>
                  </a:cubicBezTo>
                  <a:lnTo>
                    <a:pt x="197401" y="16926"/>
                  </a:lnTo>
                  <a:lnTo>
                    <a:pt x="197383" y="33830"/>
                  </a:lnTo>
                  <a:lnTo>
                    <a:pt x="276384" y="33842"/>
                  </a:lnTo>
                  <a:cubicBezTo>
                    <a:pt x="304427" y="33842"/>
                    <a:pt x="327163" y="56576"/>
                    <a:pt x="327163" y="84621"/>
                  </a:cubicBezTo>
                  <a:lnTo>
                    <a:pt x="327163" y="186282"/>
                  </a:lnTo>
                  <a:cubicBezTo>
                    <a:pt x="327163" y="214325"/>
                    <a:pt x="304427" y="237061"/>
                    <a:pt x="276384" y="237061"/>
                  </a:cubicBezTo>
                  <a:lnTo>
                    <a:pt x="84551" y="237061"/>
                  </a:lnTo>
                  <a:cubicBezTo>
                    <a:pt x="56507" y="237061"/>
                    <a:pt x="33773" y="214325"/>
                    <a:pt x="33773" y="186282"/>
                  </a:cubicBezTo>
                  <a:lnTo>
                    <a:pt x="33773" y="84621"/>
                  </a:lnTo>
                  <a:cubicBezTo>
                    <a:pt x="33773" y="56576"/>
                    <a:pt x="56507" y="33842"/>
                    <a:pt x="84551" y="33842"/>
                  </a:cubicBezTo>
                  <a:lnTo>
                    <a:pt x="163531" y="33830"/>
                  </a:lnTo>
                  <a:lnTo>
                    <a:pt x="163549" y="16926"/>
                  </a:lnTo>
                  <a:cubicBezTo>
                    <a:pt x="163549" y="8357"/>
                    <a:pt x="169915" y="1275"/>
                    <a:pt x="178177" y="155"/>
                  </a:cubicBezTo>
                  <a:lnTo>
                    <a:pt x="180475" y="0"/>
                  </a:lnTo>
                  <a:lnTo>
                    <a:pt x="178177" y="155"/>
                  </a:lnTo>
                  <a:close/>
                  <a:moveTo>
                    <a:pt x="276384" y="67694"/>
                  </a:moveTo>
                  <a:lnTo>
                    <a:pt x="84551" y="67694"/>
                  </a:lnTo>
                  <a:cubicBezTo>
                    <a:pt x="75203" y="67694"/>
                    <a:pt x="67625" y="75272"/>
                    <a:pt x="67625" y="84621"/>
                  </a:cubicBezTo>
                  <a:lnTo>
                    <a:pt x="67625" y="186282"/>
                  </a:lnTo>
                  <a:cubicBezTo>
                    <a:pt x="67625" y="195630"/>
                    <a:pt x="75203" y="203208"/>
                    <a:pt x="84551" y="203208"/>
                  </a:cubicBezTo>
                  <a:lnTo>
                    <a:pt x="276384" y="203208"/>
                  </a:lnTo>
                  <a:cubicBezTo>
                    <a:pt x="285732" y="203208"/>
                    <a:pt x="293310" y="195630"/>
                    <a:pt x="293310" y="186282"/>
                  </a:cubicBezTo>
                  <a:lnTo>
                    <a:pt x="293310" y="84621"/>
                  </a:lnTo>
                  <a:cubicBezTo>
                    <a:pt x="293310" y="75272"/>
                    <a:pt x="285732" y="67694"/>
                    <a:pt x="276384" y="67694"/>
                  </a:cubicBezTo>
                  <a:close/>
                  <a:moveTo>
                    <a:pt x="129672" y="101547"/>
                  </a:moveTo>
                  <a:cubicBezTo>
                    <a:pt x="145243" y="101547"/>
                    <a:pt x="157866" y="114170"/>
                    <a:pt x="157866" y="129741"/>
                  </a:cubicBezTo>
                  <a:cubicBezTo>
                    <a:pt x="157866" y="145313"/>
                    <a:pt x="145243" y="157936"/>
                    <a:pt x="129672" y="157936"/>
                  </a:cubicBezTo>
                  <a:cubicBezTo>
                    <a:pt x="114101" y="157936"/>
                    <a:pt x="101478" y="145313"/>
                    <a:pt x="101478" y="129741"/>
                  </a:cubicBezTo>
                  <a:cubicBezTo>
                    <a:pt x="101478" y="114170"/>
                    <a:pt x="114101" y="101547"/>
                    <a:pt x="129672" y="101547"/>
                  </a:cubicBezTo>
                  <a:close/>
                  <a:moveTo>
                    <a:pt x="231067" y="101547"/>
                  </a:moveTo>
                  <a:cubicBezTo>
                    <a:pt x="246639" y="101547"/>
                    <a:pt x="259261" y="114170"/>
                    <a:pt x="259261" y="129741"/>
                  </a:cubicBezTo>
                  <a:cubicBezTo>
                    <a:pt x="259261" y="145313"/>
                    <a:pt x="246639" y="157936"/>
                    <a:pt x="231067" y="157936"/>
                  </a:cubicBezTo>
                  <a:cubicBezTo>
                    <a:pt x="215494" y="157936"/>
                    <a:pt x="202872" y="145313"/>
                    <a:pt x="202872" y="129741"/>
                  </a:cubicBezTo>
                  <a:cubicBezTo>
                    <a:pt x="202872" y="114170"/>
                    <a:pt x="215494" y="101547"/>
                    <a:pt x="231067" y="101547"/>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40" name="Group 39">
            <a:extLst>
              <a:ext uri="{FF2B5EF4-FFF2-40B4-BE49-F238E27FC236}">
                <a16:creationId xmlns:a16="http://schemas.microsoft.com/office/drawing/2014/main" id="{81CD9DBD-A475-98C8-9994-9CC46EBBF6E4}"/>
              </a:ext>
              <a:ext uri="{C183D7F6-B498-43B3-948B-1728B52AA6E4}">
                <adec:decorative xmlns:adec="http://schemas.microsoft.com/office/drawing/2017/decorative" val="1"/>
              </a:ext>
            </a:extLst>
          </p:cNvPr>
          <p:cNvGrpSpPr/>
          <p:nvPr/>
        </p:nvGrpSpPr>
        <p:grpSpPr>
          <a:xfrm>
            <a:off x="9914528" y="1937352"/>
            <a:ext cx="854618" cy="854618"/>
            <a:chOff x="9811658" y="1893810"/>
            <a:chExt cx="854618" cy="854618"/>
          </a:xfrm>
        </p:grpSpPr>
        <p:sp>
          <p:nvSpPr>
            <p:cNvPr id="24" name="Oval 23">
              <a:extLst>
                <a:ext uri="{FF2B5EF4-FFF2-40B4-BE49-F238E27FC236}">
                  <a16:creationId xmlns:a16="http://schemas.microsoft.com/office/drawing/2014/main" id="{DA506830-9E44-8890-1F94-2C5CAFA27A9E}"/>
                </a:ext>
              </a:extLst>
            </p:cNvPr>
            <p:cNvSpPr>
              <a:spLocks/>
            </p:cNvSpPr>
            <p:nvPr/>
          </p:nvSpPr>
          <p:spPr bwMode="auto">
            <a:xfrm>
              <a:off x="9811658" y="1893810"/>
              <a:ext cx="854618" cy="854618"/>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6" name="Graphic 9" descr="Icon of a warning sign">
              <a:extLst>
                <a:ext uri="{FF2B5EF4-FFF2-40B4-BE49-F238E27FC236}">
                  <a16:creationId xmlns:a16="http://schemas.microsoft.com/office/drawing/2014/main" id="{3DB1435D-DBED-456D-D2E1-887C8CB417FD}"/>
                </a:ext>
              </a:extLst>
            </p:cNvPr>
            <p:cNvSpPr/>
            <p:nvPr/>
          </p:nvSpPr>
          <p:spPr>
            <a:xfrm>
              <a:off x="10024584" y="2122875"/>
              <a:ext cx="428768" cy="396488"/>
            </a:xfrm>
            <a:custGeom>
              <a:avLst/>
              <a:gdLst>
                <a:gd name="connsiteX0" fmla="*/ 118550 w 266105"/>
                <a:gd name="connsiteY0" fmla="*/ 3748 h 246072"/>
                <a:gd name="connsiteX1" fmla="*/ 158102 w 266105"/>
                <a:gd name="connsiteY1" fmla="*/ 13586 h 246072"/>
                <a:gd name="connsiteX2" fmla="*/ 159206 w 266105"/>
                <a:gd name="connsiteY2" fmla="*/ 15420 h 246072"/>
                <a:gd name="connsiteX3" fmla="*/ 262360 w 266105"/>
                <a:gd name="connsiteY3" fmla="*/ 201668 h 246072"/>
                <a:gd name="connsiteX4" fmla="*/ 250669 w 266105"/>
                <a:gd name="connsiteY4" fmla="*/ 242323 h 246072"/>
                <a:gd name="connsiteX5" fmla="*/ 238243 w 266105"/>
                <a:gd name="connsiteY5" fmla="*/ 245993 h 246072"/>
                <a:gd name="connsiteX6" fmla="*/ 236196 w 266105"/>
                <a:gd name="connsiteY6" fmla="*/ 246072 h 246072"/>
                <a:gd name="connsiteX7" fmla="*/ 29913 w 266105"/>
                <a:gd name="connsiteY7" fmla="*/ 246072 h 246072"/>
                <a:gd name="connsiteX8" fmla="*/ 0 w 266105"/>
                <a:gd name="connsiteY8" fmla="*/ 216159 h 246072"/>
                <a:gd name="connsiteX9" fmla="*/ 2779 w 266105"/>
                <a:gd name="connsiteY9" fmla="*/ 203569 h 246072"/>
                <a:gd name="connsiteX10" fmla="*/ 3736 w 266105"/>
                <a:gd name="connsiteY10" fmla="*/ 201668 h 246072"/>
                <a:gd name="connsiteX11" fmla="*/ 106864 w 266105"/>
                <a:gd name="connsiteY11" fmla="*/ 15420 h 246072"/>
                <a:gd name="connsiteX12" fmla="*/ 118537 w 266105"/>
                <a:gd name="connsiteY12" fmla="*/ 3748 h 246072"/>
                <a:gd name="connsiteX13" fmla="*/ 244917 w 266105"/>
                <a:gd name="connsiteY13" fmla="*/ 211320 h 246072"/>
                <a:gd name="connsiteX14" fmla="*/ 141750 w 266105"/>
                <a:gd name="connsiteY14" fmla="*/ 25086 h 246072"/>
                <a:gd name="connsiteX15" fmla="*/ 128191 w 266105"/>
                <a:gd name="connsiteY15" fmla="*/ 21211 h 246072"/>
                <a:gd name="connsiteX16" fmla="*/ 125078 w 266105"/>
                <a:gd name="connsiteY16" fmla="*/ 23916 h 246072"/>
                <a:gd name="connsiteX17" fmla="*/ 124320 w 266105"/>
                <a:gd name="connsiteY17" fmla="*/ 25086 h 246072"/>
                <a:gd name="connsiteX18" fmla="*/ 21192 w 266105"/>
                <a:gd name="connsiteY18" fmla="*/ 211320 h 246072"/>
                <a:gd name="connsiteX19" fmla="*/ 25070 w 266105"/>
                <a:gd name="connsiteY19" fmla="*/ 224878 h 246072"/>
                <a:gd name="connsiteX20" fmla="*/ 28650 w 266105"/>
                <a:gd name="connsiteY20" fmla="*/ 226050 h 246072"/>
                <a:gd name="connsiteX21" fmla="*/ 29913 w 266105"/>
                <a:gd name="connsiteY21" fmla="*/ 226130 h 246072"/>
                <a:gd name="connsiteX22" fmla="*/ 236196 w 266105"/>
                <a:gd name="connsiteY22" fmla="*/ 226130 h 246072"/>
                <a:gd name="connsiteX23" fmla="*/ 246159 w 266105"/>
                <a:gd name="connsiteY23" fmla="*/ 216151 h 246072"/>
                <a:gd name="connsiteX24" fmla="*/ 245449 w 266105"/>
                <a:gd name="connsiteY24" fmla="*/ 212463 h 246072"/>
                <a:gd name="connsiteX25" fmla="*/ 244917 w 266105"/>
                <a:gd name="connsiteY25" fmla="*/ 211320 h 246072"/>
                <a:gd name="connsiteX26" fmla="*/ 141750 w 266105"/>
                <a:gd name="connsiteY26" fmla="*/ 25086 h 246072"/>
                <a:gd name="connsiteX27" fmla="*/ 244917 w 266105"/>
                <a:gd name="connsiteY27" fmla="*/ 211320 h 246072"/>
                <a:gd name="connsiteX28" fmla="*/ 133041 w 266105"/>
                <a:gd name="connsiteY28" fmla="*/ 179505 h 246072"/>
                <a:gd name="connsiteX29" fmla="*/ 146736 w 266105"/>
                <a:gd name="connsiteY29" fmla="*/ 192360 h 246072"/>
                <a:gd name="connsiteX30" fmla="*/ 133882 w 266105"/>
                <a:gd name="connsiteY30" fmla="*/ 206055 h 246072"/>
                <a:gd name="connsiteX31" fmla="*/ 133041 w 266105"/>
                <a:gd name="connsiteY31" fmla="*/ 206055 h 246072"/>
                <a:gd name="connsiteX32" fmla="*/ 120187 w 266105"/>
                <a:gd name="connsiteY32" fmla="*/ 192360 h 246072"/>
                <a:gd name="connsiteX33" fmla="*/ 133041 w 266105"/>
                <a:gd name="connsiteY33" fmla="*/ 179505 h 246072"/>
                <a:gd name="connsiteX34" fmla="*/ 132975 w 266105"/>
                <a:gd name="connsiteY34" fmla="*/ 79767 h 246072"/>
                <a:gd name="connsiteX35" fmla="*/ 142866 w 266105"/>
                <a:gd name="connsiteY35" fmla="*/ 88369 h 246072"/>
                <a:gd name="connsiteX36" fmla="*/ 142959 w 266105"/>
                <a:gd name="connsiteY36" fmla="*/ 89725 h 246072"/>
                <a:gd name="connsiteX37" fmla="*/ 143013 w 266105"/>
                <a:gd name="connsiteY37" fmla="*/ 149579 h 246072"/>
                <a:gd name="connsiteX38" fmla="*/ 133158 w 266105"/>
                <a:gd name="connsiteY38" fmla="*/ 159665 h 246072"/>
                <a:gd name="connsiteX39" fmla="*/ 123150 w 266105"/>
                <a:gd name="connsiteY39" fmla="*/ 150948 h 246072"/>
                <a:gd name="connsiteX40" fmla="*/ 123070 w 266105"/>
                <a:gd name="connsiteY40" fmla="*/ 149592 h 246072"/>
                <a:gd name="connsiteX41" fmla="*/ 123017 w 266105"/>
                <a:gd name="connsiteY41" fmla="*/ 89738 h 246072"/>
                <a:gd name="connsiteX42" fmla="*/ 132988 w 266105"/>
                <a:gd name="connsiteY42" fmla="*/ 79767 h 246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6105" h="246072">
                  <a:moveTo>
                    <a:pt x="118550" y="3748"/>
                  </a:moveTo>
                  <a:cubicBezTo>
                    <a:pt x="132274" y="-3852"/>
                    <a:pt x="149538" y="442"/>
                    <a:pt x="158102" y="13586"/>
                  </a:cubicBezTo>
                  <a:lnTo>
                    <a:pt x="159206" y="15420"/>
                  </a:lnTo>
                  <a:lnTo>
                    <a:pt x="262360" y="201668"/>
                  </a:lnTo>
                  <a:cubicBezTo>
                    <a:pt x="270358" y="216123"/>
                    <a:pt x="265124" y="234325"/>
                    <a:pt x="250669" y="242323"/>
                  </a:cubicBezTo>
                  <a:cubicBezTo>
                    <a:pt x="246845" y="244440"/>
                    <a:pt x="242604" y="245692"/>
                    <a:pt x="238243" y="245993"/>
                  </a:cubicBezTo>
                  <a:lnTo>
                    <a:pt x="236196" y="246072"/>
                  </a:lnTo>
                  <a:lnTo>
                    <a:pt x="29913" y="246072"/>
                  </a:lnTo>
                  <a:cubicBezTo>
                    <a:pt x="13393" y="246072"/>
                    <a:pt x="0" y="232679"/>
                    <a:pt x="0" y="216159"/>
                  </a:cubicBezTo>
                  <a:cubicBezTo>
                    <a:pt x="0" y="211810"/>
                    <a:pt x="948" y="207513"/>
                    <a:pt x="2779" y="203569"/>
                  </a:cubicBezTo>
                  <a:lnTo>
                    <a:pt x="3736" y="201668"/>
                  </a:lnTo>
                  <a:lnTo>
                    <a:pt x="106864" y="15420"/>
                  </a:lnTo>
                  <a:cubicBezTo>
                    <a:pt x="109583" y="10512"/>
                    <a:pt x="113628" y="6467"/>
                    <a:pt x="118537" y="3748"/>
                  </a:cubicBezTo>
                  <a:close/>
                  <a:moveTo>
                    <a:pt x="244917" y="211320"/>
                  </a:moveTo>
                  <a:lnTo>
                    <a:pt x="141750" y="25086"/>
                  </a:lnTo>
                  <a:cubicBezTo>
                    <a:pt x="139076" y="20272"/>
                    <a:pt x="133006" y="18537"/>
                    <a:pt x="128191" y="21211"/>
                  </a:cubicBezTo>
                  <a:cubicBezTo>
                    <a:pt x="126976" y="21886"/>
                    <a:pt x="125915" y="22807"/>
                    <a:pt x="125078" y="23916"/>
                  </a:cubicBezTo>
                  <a:lnTo>
                    <a:pt x="124320" y="25086"/>
                  </a:lnTo>
                  <a:lnTo>
                    <a:pt x="21192" y="211320"/>
                  </a:lnTo>
                  <a:cubicBezTo>
                    <a:pt x="18519" y="216135"/>
                    <a:pt x="20256" y="222204"/>
                    <a:pt x="25070" y="224878"/>
                  </a:cubicBezTo>
                  <a:cubicBezTo>
                    <a:pt x="26178" y="225492"/>
                    <a:pt x="27393" y="225891"/>
                    <a:pt x="28650" y="226050"/>
                  </a:cubicBezTo>
                  <a:lnTo>
                    <a:pt x="29913" y="226130"/>
                  </a:lnTo>
                  <a:lnTo>
                    <a:pt x="236196" y="226130"/>
                  </a:lnTo>
                  <a:cubicBezTo>
                    <a:pt x="241703" y="226126"/>
                    <a:pt x="246163" y="221658"/>
                    <a:pt x="246159" y="216151"/>
                  </a:cubicBezTo>
                  <a:cubicBezTo>
                    <a:pt x="246159" y="214888"/>
                    <a:pt x="245917" y="213637"/>
                    <a:pt x="245449" y="212463"/>
                  </a:cubicBezTo>
                  <a:lnTo>
                    <a:pt x="244917" y="211320"/>
                  </a:lnTo>
                  <a:lnTo>
                    <a:pt x="141750" y="25086"/>
                  </a:lnTo>
                  <a:lnTo>
                    <a:pt x="244917" y="211320"/>
                  </a:lnTo>
                  <a:close/>
                  <a:moveTo>
                    <a:pt x="133041" y="179505"/>
                  </a:moveTo>
                  <a:cubicBezTo>
                    <a:pt x="140374" y="179273"/>
                    <a:pt x="146504" y="185028"/>
                    <a:pt x="146736" y="192360"/>
                  </a:cubicBezTo>
                  <a:cubicBezTo>
                    <a:pt x="146969" y="199692"/>
                    <a:pt x="141214" y="205822"/>
                    <a:pt x="133882" y="206055"/>
                  </a:cubicBezTo>
                  <a:cubicBezTo>
                    <a:pt x="133601" y="206064"/>
                    <a:pt x="133322" y="206064"/>
                    <a:pt x="133041" y="206055"/>
                  </a:cubicBezTo>
                  <a:cubicBezTo>
                    <a:pt x="125709" y="205822"/>
                    <a:pt x="119954" y="199692"/>
                    <a:pt x="120187" y="192360"/>
                  </a:cubicBezTo>
                  <a:cubicBezTo>
                    <a:pt x="120409" y="185355"/>
                    <a:pt x="126036" y="179727"/>
                    <a:pt x="133041" y="179505"/>
                  </a:cubicBezTo>
                  <a:close/>
                  <a:moveTo>
                    <a:pt x="132975" y="79767"/>
                  </a:moveTo>
                  <a:cubicBezTo>
                    <a:pt x="137958" y="79760"/>
                    <a:pt x="142182" y="83433"/>
                    <a:pt x="142866" y="88369"/>
                  </a:cubicBezTo>
                  <a:lnTo>
                    <a:pt x="142959" y="89725"/>
                  </a:lnTo>
                  <a:lnTo>
                    <a:pt x="143013" y="149579"/>
                  </a:lnTo>
                  <a:cubicBezTo>
                    <a:pt x="143076" y="155085"/>
                    <a:pt x="138665" y="159602"/>
                    <a:pt x="133158" y="159665"/>
                  </a:cubicBezTo>
                  <a:cubicBezTo>
                    <a:pt x="128092" y="159724"/>
                    <a:pt x="123787" y="155975"/>
                    <a:pt x="123150" y="150948"/>
                  </a:cubicBezTo>
                  <a:lnTo>
                    <a:pt x="123070" y="149592"/>
                  </a:lnTo>
                  <a:lnTo>
                    <a:pt x="123017" y="89738"/>
                  </a:lnTo>
                  <a:cubicBezTo>
                    <a:pt x="123017" y="84232"/>
                    <a:pt x="127482" y="79767"/>
                    <a:pt x="132988" y="79767"/>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spTree>
    <p:extLst>
      <p:ext uri="{BB962C8B-B14F-4D97-AF65-F5344CB8AC3E}">
        <p14:creationId xmlns:p14="http://schemas.microsoft.com/office/powerpoint/2010/main" val="37921259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6CC3B-2F4A-35C4-5175-51646B4A00D4}"/>
            </a:ext>
          </a:extLst>
        </p:cNvPr>
        <p:cNvGrpSpPr/>
        <p:nvPr/>
      </p:nvGrpSpPr>
      <p:grpSpPr>
        <a:xfrm>
          <a:off x="0" y="0"/>
          <a:ext cx="0" cy="0"/>
          <a:chOff x="0" y="0"/>
          <a:chExt cx="0" cy="0"/>
        </a:xfrm>
      </p:grpSpPr>
      <p:pic>
        <p:nvPicPr>
          <p:cNvPr id="16" name="Picture 15">
            <a:extLst>
              <a:ext uri="{FF2B5EF4-FFF2-40B4-BE49-F238E27FC236}">
                <a16:creationId xmlns:a16="http://schemas.microsoft.com/office/drawing/2014/main" id="{D14B2EFC-D4EE-8EF5-0E98-4B84766CEC59}"/>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8564811" y="0"/>
            <a:ext cx="3627189" cy="2380343"/>
          </a:xfrm>
          <a:prstGeom prst="rect">
            <a:avLst/>
          </a:prstGeom>
        </p:spPr>
      </p:pic>
      <p:sp>
        <p:nvSpPr>
          <p:cNvPr id="3" name="Rectangle: Rounded Corners 50">
            <a:extLst>
              <a:ext uri="{FF2B5EF4-FFF2-40B4-BE49-F238E27FC236}">
                <a16:creationId xmlns:a16="http://schemas.microsoft.com/office/drawing/2014/main" id="{B92D57DE-F496-4C6A-07F1-75FEA28506FA}"/>
              </a:ext>
              <a:ext uri="{C183D7F6-B498-43B3-948B-1728B52AA6E4}">
                <adec:decorative xmlns:adec="http://schemas.microsoft.com/office/drawing/2017/decorative" val="1"/>
              </a:ext>
            </a:extLst>
          </p:cNvPr>
          <p:cNvSpPr>
            <a:spLocks/>
          </p:cNvSpPr>
          <p:nvPr/>
        </p:nvSpPr>
        <p:spPr bwMode="auto">
          <a:xfrm>
            <a:off x="503464" y="1436688"/>
            <a:ext cx="11185072" cy="4849812"/>
          </a:xfrm>
          <a:prstGeom prst="roundRect">
            <a:avLst>
              <a:gd name="adj" fmla="val 3527"/>
            </a:avLst>
          </a:prstGeom>
          <a:solidFill>
            <a:schemeClr val="bg1"/>
          </a:solidFill>
          <a:ln>
            <a:noFill/>
          </a:ln>
          <a:effectLst>
            <a:outerShdw blurRad="2286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1200"/>
              </a:spcAft>
              <a:buClrTx/>
              <a:buSzTx/>
              <a:buFontTx/>
              <a:buNone/>
              <a:tabLst>
                <a:tab pos="457200" algn="l"/>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13" name="Straight Connector 12">
            <a:extLst>
              <a:ext uri="{FF2B5EF4-FFF2-40B4-BE49-F238E27FC236}">
                <a16:creationId xmlns:a16="http://schemas.microsoft.com/office/drawing/2014/main" id="{48C06594-EF56-76AF-F461-8B2D4EB06F1E}"/>
              </a:ext>
              <a:ext uri="{C183D7F6-B498-43B3-948B-1728B52AA6E4}">
                <adec:decorative xmlns:adec="http://schemas.microsoft.com/office/drawing/2017/decorative" val="1"/>
              </a:ext>
            </a:extLst>
          </p:cNvPr>
          <p:cNvCxnSpPr>
            <a:cxnSpLocks/>
          </p:cNvCxnSpPr>
          <p:nvPr/>
        </p:nvCxnSpPr>
        <p:spPr>
          <a:xfrm>
            <a:off x="1447801" y="4492536"/>
            <a:ext cx="9988183" cy="0"/>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B104D3EA-A255-A3C2-4E80-B09B37BF8C12}"/>
              </a:ext>
              <a:ext uri="{C183D7F6-B498-43B3-948B-1728B52AA6E4}">
                <adec:decorative xmlns:adec="http://schemas.microsoft.com/office/drawing/2017/decorative" val="1"/>
              </a:ext>
            </a:extLst>
          </p:cNvPr>
          <p:cNvGrpSpPr/>
          <p:nvPr/>
        </p:nvGrpSpPr>
        <p:grpSpPr>
          <a:xfrm>
            <a:off x="686345" y="1619568"/>
            <a:ext cx="549017" cy="549017"/>
            <a:chOff x="756015" y="1673775"/>
            <a:chExt cx="549017" cy="549017"/>
          </a:xfrm>
        </p:grpSpPr>
        <p:sp>
          <p:nvSpPr>
            <p:cNvPr id="4" name="Oval 3">
              <a:extLst>
                <a:ext uri="{FF2B5EF4-FFF2-40B4-BE49-F238E27FC236}">
                  <a16:creationId xmlns:a16="http://schemas.microsoft.com/office/drawing/2014/main" id="{C7E74C7E-12B7-89B6-EB12-012AE91FDF06}"/>
                </a:ext>
              </a:extLst>
            </p:cNvPr>
            <p:cNvSpPr>
              <a:spLocks/>
            </p:cNvSpPr>
            <p:nvPr/>
          </p:nvSpPr>
          <p:spPr bwMode="auto">
            <a:xfrm>
              <a:off x="756015" y="1673775"/>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Graphic 65" descr="Icon of a person standing behind a podium">
              <a:extLst>
                <a:ext uri="{FF2B5EF4-FFF2-40B4-BE49-F238E27FC236}">
                  <a16:creationId xmlns:a16="http://schemas.microsoft.com/office/drawing/2014/main" id="{1263CC9A-A4B8-4D2F-4542-9167FAA98C3F}"/>
                </a:ext>
              </a:extLst>
            </p:cNvPr>
            <p:cNvSpPr>
              <a:spLocks noChangeAspect="1"/>
            </p:cNvSpPr>
            <p:nvPr/>
          </p:nvSpPr>
          <p:spPr>
            <a:xfrm>
              <a:off x="901913" y="1805341"/>
              <a:ext cx="257220" cy="285884"/>
            </a:xfrm>
            <a:custGeom>
              <a:avLst/>
              <a:gdLst>
                <a:gd name="connsiteX0" fmla="*/ 309271 w 322746"/>
                <a:gd name="connsiteY0" fmla="*/ 197191 h 358713"/>
                <a:gd name="connsiteX1" fmla="*/ 317677 w 322746"/>
                <a:gd name="connsiteY1" fmla="*/ 221139 h 358713"/>
                <a:gd name="connsiteX2" fmla="*/ 233076 w 322746"/>
                <a:gd name="connsiteY2" fmla="*/ 288881 h 358713"/>
                <a:gd name="connsiteX3" fmla="*/ 233076 w 322746"/>
                <a:gd name="connsiteY3" fmla="*/ 318367 h 358713"/>
                <a:gd name="connsiteX4" fmla="*/ 192729 w 322746"/>
                <a:gd name="connsiteY4" fmla="*/ 358714 h 358713"/>
                <a:gd name="connsiteX5" fmla="*/ 130049 w 322746"/>
                <a:gd name="connsiteY5" fmla="*/ 358714 h 358713"/>
                <a:gd name="connsiteX6" fmla="*/ 89703 w 322746"/>
                <a:gd name="connsiteY6" fmla="*/ 318367 h 358713"/>
                <a:gd name="connsiteX7" fmla="*/ 89703 w 322746"/>
                <a:gd name="connsiteY7" fmla="*/ 288883 h 358713"/>
                <a:gd name="connsiteX8" fmla="*/ 5071 w 322746"/>
                <a:gd name="connsiteY8" fmla="*/ 221141 h 358713"/>
                <a:gd name="connsiteX9" fmla="*/ 13476 w 322746"/>
                <a:gd name="connsiteY9" fmla="*/ 197191 h 358713"/>
                <a:gd name="connsiteX10" fmla="*/ 309271 w 322746"/>
                <a:gd name="connsiteY10" fmla="*/ 197191 h 358713"/>
                <a:gd name="connsiteX11" fmla="*/ 270957 w 322746"/>
                <a:gd name="connsiteY11" fmla="*/ 224089 h 358713"/>
                <a:gd name="connsiteX12" fmla="*/ 51799 w 322746"/>
                <a:gd name="connsiteY12" fmla="*/ 224089 h 358713"/>
                <a:gd name="connsiteX13" fmla="*/ 111556 w 322746"/>
                <a:gd name="connsiteY13" fmla="*/ 271921 h 358713"/>
                <a:gd name="connsiteX14" fmla="*/ 116601 w 322746"/>
                <a:gd name="connsiteY14" fmla="*/ 282420 h 358713"/>
                <a:gd name="connsiteX15" fmla="*/ 116601 w 322746"/>
                <a:gd name="connsiteY15" fmla="*/ 318367 h 358713"/>
                <a:gd name="connsiteX16" fmla="*/ 130049 w 322746"/>
                <a:gd name="connsiteY16" fmla="*/ 331816 h 358713"/>
                <a:gd name="connsiteX17" fmla="*/ 192729 w 322746"/>
                <a:gd name="connsiteY17" fmla="*/ 331816 h 358713"/>
                <a:gd name="connsiteX18" fmla="*/ 206178 w 322746"/>
                <a:gd name="connsiteY18" fmla="*/ 318367 h 358713"/>
                <a:gd name="connsiteX19" fmla="*/ 206178 w 322746"/>
                <a:gd name="connsiteY19" fmla="*/ 282420 h 358713"/>
                <a:gd name="connsiteX20" fmla="*/ 211220 w 322746"/>
                <a:gd name="connsiteY20" fmla="*/ 271923 h 358713"/>
                <a:gd name="connsiteX21" fmla="*/ 270957 w 322746"/>
                <a:gd name="connsiteY21" fmla="*/ 224089 h 358713"/>
                <a:gd name="connsiteX22" fmla="*/ 103152 w 322746"/>
                <a:gd name="connsiteY22" fmla="*/ 125516 h 358713"/>
                <a:gd name="connsiteX23" fmla="*/ 219614 w 322746"/>
                <a:gd name="connsiteY23" fmla="*/ 125516 h 358713"/>
                <a:gd name="connsiteX24" fmla="*/ 250891 w 322746"/>
                <a:gd name="connsiteY24" fmla="*/ 154323 h 358713"/>
                <a:gd name="connsiteX25" fmla="*/ 250995 w 322746"/>
                <a:gd name="connsiteY25" fmla="*/ 156896 h 358713"/>
                <a:gd name="connsiteX26" fmla="*/ 250995 w 322746"/>
                <a:gd name="connsiteY26" fmla="*/ 179311 h 358713"/>
                <a:gd name="connsiteX27" fmla="*/ 224097 w 322746"/>
                <a:gd name="connsiteY27" fmla="*/ 179311 h 358713"/>
                <a:gd name="connsiteX28" fmla="*/ 224097 w 322746"/>
                <a:gd name="connsiteY28" fmla="*/ 156896 h 358713"/>
                <a:gd name="connsiteX29" fmla="*/ 220644 w 322746"/>
                <a:gd name="connsiteY29" fmla="*/ 152531 h 358713"/>
                <a:gd name="connsiteX30" fmla="*/ 219614 w 322746"/>
                <a:gd name="connsiteY30" fmla="*/ 152413 h 358713"/>
                <a:gd name="connsiteX31" fmla="*/ 103152 w 322746"/>
                <a:gd name="connsiteY31" fmla="*/ 152413 h 358713"/>
                <a:gd name="connsiteX32" fmla="*/ 98787 w 322746"/>
                <a:gd name="connsiteY32" fmla="*/ 155869 h 358713"/>
                <a:gd name="connsiteX33" fmla="*/ 98669 w 322746"/>
                <a:gd name="connsiteY33" fmla="*/ 156896 h 358713"/>
                <a:gd name="connsiteX34" fmla="*/ 98669 w 322746"/>
                <a:gd name="connsiteY34" fmla="*/ 179311 h 358713"/>
                <a:gd name="connsiteX35" fmla="*/ 71771 w 322746"/>
                <a:gd name="connsiteY35" fmla="*/ 179311 h 358713"/>
                <a:gd name="connsiteX36" fmla="*/ 71771 w 322746"/>
                <a:gd name="connsiteY36" fmla="*/ 156896 h 358713"/>
                <a:gd name="connsiteX37" fmla="*/ 100578 w 322746"/>
                <a:gd name="connsiteY37" fmla="*/ 125620 h 358713"/>
                <a:gd name="connsiteX38" fmla="*/ 103152 w 322746"/>
                <a:gd name="connsiteY38" fmla="*/ 125516 h 358713"/>
                <a:gd name="connsiteX39" fmla="*/ 219614 w 322746"/>
                <a:gd name="connsiteY39" fmla="*/ 125516 h 358713"/>
                <a:gd name="connsiteX40" fmla="*/ 103152 w 322746"/>
                <a:gd name="connsiteY40" fmla="*/ 125516 h 358713"/>
                <a:gd name="connsiteX41" fmla="*/ 161430 w 322746"/>
                <a:gd name="connsiteY41" fmla="*/ 0 h 358713"/>
                <a:gd name="connsiteX42" fmla="*/ 215226 w 322746"/>
                <a:gd name="connsiteY42" fmla="*/ 53796 h 358713"/>
                <a:gd name="connsiteX43" fmla="*/ 161430 w 322746"/>
                <a:gd name="connsiteY43" fmla="*/ 107592 h 358713"/>
                <a:gd name="connsiteX44" fmla="*/ 107635 w 322746"/>
                <a:gd name="connsiteY44" fmla="*/ 53796 h 358713"/>
                <a:gd name="connsiteX45" fmla="*/ 161430 w 322746"/>
                <a:gd name="connsiteY45" fmla="*/ 0 h 358713"/>
                <a:gd name="connsiteX46" fmla="*/ 161430 w 322746"/>
                <a:gd name="connsiteY46" fmla="*/ 26898 h 358713"/>
                <a:gd name="connsiteX47" fmla="*/ 134532 w 322746"/>
                <a:gd name="connsiteY47" fmla="*/ 53796 h 358713"/>
                <a:gd name="connsiteX48" fmla="*/ 161430 w 322746"/>
                <a:gd name="connsiteY48" fmla="*/ 80694 h 358713"/>
                <a:gd name="connsiteX49" fmla="*/ 188328 w 322746"/>
                <a:gd name="connsiteY49" fmla="*/ 53796 h 358713"/>
                <a:gd name="connsiteX50" fmla="*/ 161430 w 322746"/>
                <a:gd name="connsiteY50" fmla="*/ 26898 h 35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22746" h="358713">
                  <a:moveTo>
                    <a:pt x="309271" y="197191"/>
                  </a:moveTo>
                  <a:cubicBezTo>
                    <a:pt x="321981" y="197191"/>
                    <a:pt x="327599" y="213194"/>
                    <a:pt x="317677" y="221139"/>
                  </a:cubicBezTo>
                  <a:lnTo>
                    <a:pt x="233076" y="288881"/>
                  </a:lnTo>
                  <a:lnTo>
                    <a:pt x="233076" y="318367"/>
                  </a:lnTo>
                  <a:cubicBezTo>
                    <a:pt x="233076" y="340651"/>
                    <a:pt x="215011" y="358714"/>
                    <a:pt x="192729" y="358714"/>
                  </a:cubicBezTo>
                  <a:lnTo>
                    <a:pt x="130049" y="358714"/>
                  </a:lnTo>
                  <a:cubicBezTo>
                    <a:pt x="107767" y="358714"/>
                    <a:pt x="89703" y="340651"/>
                    <a:pt x="89703" y="318367"/>
                  </a:cubicBezTo>
                  <a:lnTo>
                    <a:pt x="89703" y="288883"/>
                  </a:lnTo>
                  <a:lnTo>
                    <a:pt x="5071" y="221141"/>
                  </a:lnTo>
                  <a:cubicBezTo>
                    <a:pt x="-4852" y="213197"/>
                    <a:pt x="764" y="197191"/>
                    <a:pt x="13476" y="197191"/>
                  </a:cubicBezTo>
                  <a:lnTo>
                    <a:pt x="309271" y="197191"/>
                  </a:lnTo>
                  <a:close/>
                  <a:moveTo>
                    <a:pt x="270957" y="224089"/>
                  </a:moveTo>
                  <a:lnTo>
                    <a:pt x="51799" y="224089"/>
                  </a:lnTo>
                  <a:lnTo>
                    <a:pt x="111556" y="271921"/>
                  </a:lnTo>
                  <a:cubicBezTo>
                    <a:pt x="114745" y="274473"/>
                    <a:pt x="116601" y="278337"/>
                    <a:pt x="116601" y="282420"/>
                  </a:cubicBezTo>
                  <a:lnTo>
                    <a:pt x="116601" y="318367"/>
                  </a:lnTo>
                  <a:cubicBezTo>
                    <a:pt x="116601" y="325794"/>
                    <a:pt x="122622" y="331816"/>
                    <a:pt x="130049" y="331816"/>
                  </a:cubicBezTo>
                  <a:lnTo>
                    <a:pt x="192729" y="331816"/>
                  </a:lnTo>
                  <a:cubicBezTo>
                    <a:pt x="200156" y="331816"/>
                    <a:pt x="206178" y="325794"/>
                    <a:pt x="206178" y="318367"/>
                  </a:cubicBezTo>
                  <a:lnTo>
                    <a:pt x="206178" y="282420"/>
                  </a:lnTo>
                  <a:cubicBezTo>
                    <a:pt x="206178" y="278337"/>
                    <a:pt x="208034" y="274474"/>
                    <a:pt x="211220" y="271923"/>
                  </a:cubicBezTo>
                  <a:lnTo>
                    <a:pt x="270957" y="224089"/>
                  </a:lnTo>
                  <a:close/>
                  <a:moveTo>
                    <a:pt x="103152" y="125516"/>
                  </a:moveTo>
                  <a:lnTo>
                    <a:pt x="219614" y="125516"/>
                  </a:lnTo>
                  <a:cubicBezTo>
                    <a:pt x="236079" y="125516"/>
                    <a:pt x="249582" y="138196"/>
                    <a:pt x="250891" y="154323"/>
                  </a:cubicBezTo>
                  <a:lnTo>
                    <a:pt x="250995" y="156896"/>
                  </a:lnTo>
                  <a:lnTo>
                    <a:pt x="250995" y="179311"/>
                  </a:lnTo>
                  <a:lnTo>
                    <a:pt x="224097" y="179311"/>
                  </a:lnTo>
                  <a:lnTo>
                    <a:pt x="224097" y="156896"/>
                  </a:lnTo>
                  <a:cubicBezTo>
                    <a:pt x="224097" y="154775"/>
                    <a:pt x="222623" y="152998"/>
                    <a:pt x="220644" y="152531"/>
                  </a:cubicBezTo>
                  <a:lnTo>
                    <a:pt x="219614" y="152413"/>
                  </a:lnTo>
                  <a:lnTo>
                    <a:pt x="103152" y="152413"/>
                  </a:lnTo>
                  <a:cubicBezTo>
                    <a:pt x="101030" y="152413"/>
                    <a:pt x="99252" y="153889"/>
                    <a:pt x="98787" y="155869"/>
                  </a:cubicBezTo>
                  <a:lnTo>
                    <a:pt x="98669" y="156896"/>
                  </a:lnTo>
                  <a:lnTo>
                    <a:pt x="98669" y="179311"/>
                  </a:lnTo>
                  <a:lnTo>
                    <a:pt x="71771" y="179311"/>
                  </a:lnTo>
                  <a:lnTo>
                    <a:pt x="71771" y="156896"/>
                  </a:lnTo>
                  <a:cubicBezTo>
                    <a:pt x="71771" y="140432"/>
                    <a:pt x="84451" y="126929"/>
                    <a:pt x="100578" y="125620"/>
                  </a:cubicBezTo>
                  <a:lnTo>
                    <a:pt x="103152" y="125516"/>
                  </a:lnTo>
                  <a:lnTo>
                    <a:pt x="219614" y="125516"/>
                  </a:lnTo>
                  <a:lnTo>
                    <a:pt x="103152" y="125516"/>
                  </a:lnTo>
                  <a:close/>
                  <a:moveTo>
                    <a:pt x="161430" y="0"/>
                  </a:moveTo>
                  <a:cubicBezTo>
                    <a:pt x="191142" y="0"/>
                    <a:pt x="215226" y="24085"/>
                    <a:pt x="215226" y="53796"/>
                  </a:cubicBezTo>
                  <a:cubicBezTo>
                    <a:pt x="215226" y="83507"/>
                    <a:pt x="191142" y="107592"/>
                    <a:pt x="161430" y="107592"/>
                  </a:cubicBezTo>
                  <a:cubicBezTo>
                    <a:pt x="131721" y="107592"/>
                    <a:pt x="107635" y="83507"/>
                    <a:pt x="107635" y="53796"/>
                  </a:cubicBezTo>
                  <a:cubicBezTo>
                    <a:pt x="107635" y="24085"/>
                    <a:pt x="131721" y="0"/>
                    <a:pt x="161430" y="0"/>
                  </a:cubicBezTo>
                  <a:close/>
                  <a:moveTo>
                    <a:pt x="161430" y="26898"/>
                  </a:moveTo>
                  <a:cubicBezTo>
                    <a:pt x="146575" y="26898"/>
                    <a:pt x="134532" y="38941"/>
                    <a:pt x="134532" y="53796"/>
                  </a:cubicBezTo>
                  <a:cubicBezTo>
                    <a:pt x="134532" y="68651"/>
                    <a:pt x="146575" y="80694"/>
                    <a:pt x="161430" y="80694"/>
                  </a:cubicBezTo>
                  <a:cubicBezTo>
                    <a:pt x="176287" y="80694"/>
                    <a:pt x="188328" y="68651"/>
                    <a:pt x="188328" y="53796"/>
                  </a:cubicBezTo>
                  <a:cubicBezTo>
                    <a:pt x="188328" y="38941"/>
                    <a:pt x="176287" y="26898"/>
                    <a:pt x="161430" y="26898"/>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21" name="Group 20">
            <a:extLst>
              <a:ext uri="{FF2B5EF4-FFF2-40B4-BE49-F238E27FC236}">
                <a16:creationId xmlns:a16="http://schemas.microsoft.com/office/drawing/2014/main" id="{3C166827-02FF-AD9A-6415-0288AFE20B14}"/>
              </a:ext>
              <a:ext uri="{C183D7F6-B498-43B3-948B-1728B52AA6E4}">
                <adec:decorative xmlns:adec="http://schemas.microsoft.com/office/drawing/2017/decorative" val="1"/>
              </a:ext>
            </a:extLst>
          </p:cNvPr>
          <p:cNvGrpSpPr/>
          <p:nvPr/>
        </p:nvGrpSpPr>
        <p:grpSpPr>
          <a:xfrm>
            <a:off x="686345" y="4841736"/>
            <a:ext cx="549017" cy="549017"/>
            <a:chOff x="756015" y="4787529"/>
            <a:chExt cx="549017" cy="549017"/>
          </a:xfrm>
        </p:grpSpPr>
        <p:sp>
          <p:nvSpPr>
            <p:cNvPr id="9" name="Oval 8">
              <a:extLst>
                <a:ext uri="{FF2B5EF4-FFF2-40B4-BE49-F238E27FC236}">
                  <a16:creationId xmlns:a16="http://schemas.microsoft.com/office/drawing/2014/main" id="{98671AA9-BFB6-F80F-C1F5-75D434C70B20}"/>
                </a:ext>
              </a:extLst>
            </p:cNvPr>
            <p:cNvSpPr>
              <a:spLocks/>
            </p:cNvSpPr>
            <p:nvPr/>
          </p:nvSpPr>
          <p:spPr bwMode="auto">
            <a:xfrm>
              <a:off x="756015" y="4787529"/>
              <a:ext cx="549017" cy="549017"/>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a:ea typeface="+mn-ea"/>
                <a:cs typeface="+mn-cs"/>
              </a:endParaRPr>
            </a:p>
          </p:txBody>
        </p:sp>
        <p:sp>
          <p:nvSpPr>
            <p:cNvPr id="19" name="Graphic 16" descr="Icon of a team of three people">
              <a:extLst>
                <a:ext uri="{FF2B5EF4-FFF2-40B4-BE49-F238E27FC236}">
                  <a16:creationId xmlns:a16="http://schemas.microsoft.com/office/drawing/2014/main" id="{E80FF001-296A-9FFA-CB7A-ED0D7376EE84}"/>
                </a:ext>
              </a:extLst>
            </p:cNvPr>
            <p:cNvSpPr/>
            <p:nvPr/>
          </p:nvSpPr>
          <p:spPr>
            <a:xfrm>
              <a:off x="880675" y="4927174"/>
              <a:ext cx="299696" cy="269726"/>
            </a:xfrm>
            <a:custGeom>
              <a:avLst/>
              <a:gdLst>
                <a:gd name="connsiteX0" fmla="*/ 216804 w 339978"/>
                <a:gd name="connsiteY0" fmla="*/ 118992 h 305980"/>
                <a:gd name="connsiteX1" fmla="*/ 246552 w 339978"/>
                <a:gd name="connsiteY1" fmla="*/ 148741 h 305980"/>
                <a:gd name="connsiteX2" fmla="*/ 246552 w 339978"/>
                <a:gd name="connsiteY2" fmla="*/ 229468 h 305980"/>
                <a:gd name="connsiteX3" fmla="*/ 170040 w 339978"/>
                <a:gd name="connsiteY3" fmla="*/ 305981 h 305980"/>
                <a:gd name="connsiteX4" fmla="*/ 93527 w 339978"/>
                <a:gd name="connsiteY4" fmla="*/ 229468 h 305980"/>
                <a:gd name="connsiteX5" fmla="*/ 93527 w 339978"/>
                <a:gd name="connsiteY5" fmla="*/ 148741 h 305980"/>
                <a:gd name="connsiteX6" fmla="*/ 123275 w 339978"/>
                <a:gd name="connsiteY6" fmla="*/ 118992 h 305980"/>
                <a:gd name="connsiteX7" fmla="*/ 216804 w 339978"/>
                <a:gd name="connsiteY7" fmla="*/ 118992 h 305980"/>
                <a:gd name="connsiteX8" fmla="*/ 216804 w 339978"/>
                <a:gd name="connsiteY8" fmla="*/ 144491 h 305980"/>
                <a:gd name="connsiteX9" fmla="*/ 123275 w 339978"/>
                <a:gd name="connsiteY9" fmla="*/ 144491 h 305980"/>
                <a:gd name="connsiteX10" fmla="*/ 119025 w 339978"/>
                <a:gd name="connsiteY10" fmla="*/ 148741 h 305980"/>
                <a:gd name="connsiteX11" fmla="*/ 119025 w 339978"/>
                <a:gd name="connsiteY11" fmla="*/ 229468 h 305980"/>
                <a:gd name="connsiteX12" fmla="*/ 170040 w 339978"/>
                <a:gd name="connsiteY12" fmla="*/ 280482 h 305980"/>
                <a:gd name="connsiteX13" fmla="*/ 221054 w 339978"/>
                <a:gd name="connsiteY13" fmla="*/ 229468 h 305980"/>
                <a:gd name="connsiteX14" fmla="*/ 221054 w 339978"/>
                <a:gd name="connsiteY14" fmla="*/ 148741 h 305980"/>
                <a:gd name="connsiteX15" fmla="*/ 216804 w 339978"/>
                <a:gd name="connsiteY15" fmla="*/ 144491 h 305980"/>
                <a:gd name="connsiteX16" fmla="*/ 29748 w 339978"/>
                <a:gd name="connsiteY16" fmla="*/ 118992 h 305980"/>
                <a:gd name="connsiteX17" fmla="*/ 87226 w 339978"/>
                <a:gd name="connsiteY17" fmla="*/ 118976 h 305980"/>
                <a:gd name="connsiteX18" fmla="*/ 76718 w 339978"/>
                <a:gd name="connsiteY18" fmla="*/ 144494 h 305980"/>
                <a:gd name="connsiteX19" fmla="*/ 29748 w 339978"/>
                <a:gd name="connsiteY19" fmla="*/ 144491 h 305980"/>
                <a:gd name="connsiteX20" fmla="*/ 25498 w 339978"/>
                <a:gd name="connsiteY20" fmla="*/ 148741 h 305980"/>
                <a:gd name="connsiteX21" fmla="*/ 25498 w 339978"/>
                <a:gd name="connsiteY21" fmla="*/ 203967 h 305980"/>
                <a:gd name="connsiteX22" fmla="*/ 68017 w 339978"/>
                <a:gd name="connsiteY22" fmla="*/ 246484 h 305980"/>
                <a:gd name="connsiteX23" fmla="*/ 77892 w 339978"/>
                <a:gd name="connsiteY23" fmla="*/ 245332 h 305980"/>
                <a:gd name="connsiteX24" fmla="*/ 85587 w 339978"/>
                <a:gd name="connsiteY24" fmla="*/ 269671 h 305980"/>
                <a:gd name="connsiteX25" fmla="*/ 68017 w 339978"/>
                <a:gd name="connsiteY25" fmla="*/ 271983 h 305980"/>
                <a:gd name="connsiteX26" fmla="*/ 0 w 339978"/>
                <a:gd name="connsiteY26" fmla="*/ 203967 h 305980"/>
                <a:gd name="connsiteX27" fmla="*/ 0 w 339978"/>
                <a:gd name="connsiteY27" fmla="*/ 148741 h 305980"/>
                <a:gd name="connsiteX28" fmla="*/ 29748 w 339978"/>
                <a:gd name="connsiteY28" fmla="*/ 118992 h 305980"/>
                <a:gd name="connsiteX29" fmla="*/ 252854 w 339978"/>
                <a:gd name="connsiteY29" fmla="*/ 118976 h 305980"/>
                <a:gd name="connsiteX30" fmla="*/ 310230 w 339978"/>
                <a:gd name="connsiteY30" fmla="*/ 118992 h 305980"/>
                <a:gd name="connsiteX31" fmla="*/ 339978 w 339978"/>
                <a:gd name="connsiteY31" fmla="*/ 148741 h 305980"/>
                <a:gd name="connsiteX32" fmla="*/ 339978 w 339978"/>
                <a:gd name="connsiteY32" fmla="*/ 203987 h 305980"/>
                <a:gd name="connsiteX33" fmla="*/ 271983 w 339978"/>
                <a:gd name="connsiteY33" fmla="*/ 271983 h 305980"/>
                <a:gd name="connsiteX34" fmla="*/ 254459 w 339978"/>
                <a:gd name="connsiteY34" fmla="*/ 269703 h 305980"/>
                <a:gd name="connsiteX35" fmla="*/ 262208 w 339978"/>
                <a:gd name="connsiteY35" fmla="*/ 245347 h 305980"/>
                <a:gd name="connsiteX36" fmla="*/ 271983 w 339978"/>
                <a:gd name="connsiteY36" fmla="*/ 246484 h 305980"/>
                <a:gd name="connsiteX37" fmla="*/ 314480 w 339978"/>
                <a:gd name="connsiteY37" fmla="*/ 203987 h 305980"/>
                <a:gd name="connsiteX38" fmla="*/ 314480 w 339978"/>
                <a:gd name="connsiteY38" fmla="*/ 148741 h 305980"/>
                <a:gd name="connsiteX39" fmla="*/ 310230 w 339978"/>
                <a:gd name="connsiteY39" fmla="*/ 144491 h 305980"/>
                <a:gd name="connsiteX40" fmla="*/ 263361 w 339978"/>
                <a:gd name="connsiteY40" fmla="*/ 144494 h 305980"/>
                <a:gd name="connsiteX41" fmla="*/ 252854 w 339978"/>
                <a:gd name="connsiteY41" fmla="*/ 118976 h 305980"/>
                <a:gd name="connsiteX42" fmla="*/ 169989 w 339978"/>
                <a:gd name="connsiteY42" fmla="*/ 0 h 305980"/>
                <a:gd name="connsiteX43" fmla="*/ 220986 w 339978"/>
                <a:gd name="connsiteY43" fmla="*/ 50997 h 305980"/>
                <a:gd name="connsiteX44" fmla="*/ 169989 w 339978"/>
                <a:gd name="connsiteY44" fmla="*/ 101994 h 305980"/>
                <a:gd name="connsiteX45" fmla="*/ 118992 w 339978"/>
                <a:gd name="connsiteY45" fmla="*/ 50997 h 305980"/>
                <a:gd name="connsiteX46" fmla="*/ 169989 w 339978"/>
                <a:gd name="connsiteY46" fmla="*/ 0 h 305980"/>
                <a:gd name="connsiteX47" fmla="*/ 280482 w 339978"/>
                <a:gd name="connsiteY47" fmla="*/ 16999 h 305980"/>
                <a:gd name="connsiteX48" fmla="*/ 322979 w 339978"/>
                <a:gd name="connsiteY48" fmla="*/ 59496 h 305980"/>
                <a:gd name="connsiteX49" fmla="*/ 280482 w 339978"/>
                <a:gd name="connsiteY49" fmla="*/ 101994 h 305980"/>
                <a:gd name="connsiteX50" fmla="*/ 237985 w 339978"/>
                <a:gd name="connsiteY50" fmla="*/ 59496 h 305980"/>
                <a:gd name="connsiteX51" fmla="*/ 280482 w 339978"/>
                <a:gd name="connsiteY51" fmla="*/ 16999 h 305980"/>
                <a:gd name="connsiteX52" fmla="*/ 59496 w 339978"/>
                <a:gd name="connsiteY52" fmla="*/ 16999 h 305980"/>
                <a:gd name="connsiteX53" fmla="*/ 101994 w 339978"/>
                <a:gd name="connsiteY53" fmla="*/ 59496 h 305980"/>
                <a:gd name="connsiteX54" fmla="*/ 59496 w 339978"/>
                <a:gd name="connsiteY54" fmla="*/ 101994 h 305980"/>
                <a:gd name="connsiteX55" fmla="*/ 16999 w 339978"/>
                <a:gd name="connsiteY55" fmla="*/ 59496 h 305980"/>
                <a:gd name="connsiteX56" fmla="*/ 59496 w 339978"/>
                <a:gd name="connsiteY56" fmla="*/ 16999 h 305980"/>
                <a:gd name="connsiteX57" fmla="*/ 169989 w 339978"/>
                <a:gd name="connsiteY57" fmla="*/ 25498 h 305980"/>
                <a:gd name="connsiteX58" fmla="*/ 144491 w 339978"/>
                <a:gd name="connsiteY58" fmla="*/ 50997 h 305980"/>
                <a:gd name="connsiteX59" fmla="*/ 169989 w 339978"/>
                <a:gd name="connsiteY59" fmla="*/ 76495 h 305980"/>
                <a:gd name="connsiteX60" fmla="*/ 195488 w 339978"/>
                <a:gd name="connsiteY60" fmla="*/ 50997 h 305980"/>
                <a:gd name="connsiteX61" fmla="*/ 169989 w 339978"/>
                <a:gd name="connsiteY61" fmla="*/ 25498 h 305980"/>
                <a:gd name="connsiteX62" fmla="*/ 280482 w 339978"/>
                <a:gd name="connsiteY62" fmla="*/ 42497 h 305980"/>
                <a:gd name="connsiteX63" fmla="*/ 263483 w 339978"/>
                <a:gd name="connsiteY63" fmla="*/ 59496 h 305980"/>
                <a:gd name="connsiteX64" fmla="*/ 280482 w 339978"/>
                <a:gd name="connsiteY64" fmla="*/ 76495 h 305980"/>
                <a:gd name="connsiteX65" fmla="*/ 297481 w 339978"/>
                <a:gd name="connsiteY65" fmla="*/ 59496 h 305980"/>
                <a:gd name="connsiteX66" fmla="*/ 280482 w 339978"/>
                <a:gd name="connsiteY66" fmla="*/ 42497 h 305980"/>
                <a:gd name="connsiteX67" fmla="*/ 59496 w 339978"/>
                <a:gd name="connsiteY67" fmla="*/ 42497 h 305980"/>
                <a:gd name="connsiteX68" fmla="*/ 42497 w 339978"/>
                <a:gd name="connsiteY68" fmla="*/ 59496 h 305980"/>
                <a:gd name="connsiteX69" fmla="*/ 59496 w 339978"/>
                <a:gd name="connsiteY69" fmla="*/ 76495 h 305980"/>
                <a:gd name="connsiteX70" fmla="*/ 76495 w 339978"/>
                <a:gd name="connsiteY70" fmla="*/ 59496 h 305980"/>
                <a:gd name="connsiteX71" fmla="*/ 59496 w 339978"/>
                <a:gd name="connsiteY71" fmla="*/ 42497 h 30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39978" h="305980">
                  <a:moveTo>
                    <a:pt x="216804" y="118992"/>
                  </a:moveTo>
                  <a:cubicBezTo>
                    <a:pt x="233234" y="118992"/>
                    <a:pt x="246552" y="132311"/>
                    <a:pt x="246552" y="148741"/>
                  </a:cubicBezTo>
                  <a:lnTo>
                    <a:pt x="246552" y="229468"/>
                  </a:lnTo>
                  <a:cubicBezTo>
                    <a:pt x="246552" y="271724"/>
                    <a:pt x="212296" y="305981"/>
                    <a:pt x="170040" y="305981"/>
                  </a:cubicBezTo>
                  <a:cubicBezTo>
                    <a:pt x="127783" y="305981"/>
                    <a:pt x="93527" y="271724"/>
                    <a:pt x="93527" y="229468"/>
                  </a:cubicBezTo>
                  <a:lnTo>
                    <a:pt x="93527" y="148741"/>
                  </a:lnTo>
                  <a:cubicBezTo>
                    <a:pt x="93527" y="132311"/>
                    <a:pt x="106846" y="118992"/>
                    <a:pt x="123275" y="118992"/>
                  </a:cubicBezTo>
                  <a:lnTo>
                    <a:pt x="216804" y="118992"/>
                  </a:lnTo>
                  <a:close/>
                  <a:moveTo>
                    <a:pt x="216804" y="144491"/>
                  </a:moveTo>
                  <a:lnTo>
                    <a:pt x="123275" y="144491"/>
                  </a:lnTo>
                  <a:cubicBezTo>
                    <a:pt x="120928" y="144491"/>
                    <a:pt x="119025" y="146393"/>
                    <a:pt x="119025" y="148741"/>
                  </a:cubicBezTo>
                  <a:lnTo>
                    <a:pt x="119025" y="229468"/>
                  </a:lnTo>
                  <a:cubicBezTo>
                    <a:pt x="119025" y="257642"/>
                    <a:pt x="141864" y="280482"/>
                    <a:pt x="170040" y="280482"/>
                  </a:cubicBezTo>
                  <a:cubicBezTo>
                    <a:pt x="198214" y="280482"/>
                    <a:pt x="221054" y="257642"/>
                    <a:pt x="221054" y="229468"/>
                  </a:cubicBezTo>
                  <a:lnTo>
                    <a:pt x="221054" y="148741"/>
                  </a:lnTo>
                  <a:cubicBezTo>
                    <a:pt x="221054" y="146393"/>
                    <a:pt x="219152" y="144491"/>
                    <a:pt x="216804" y="144491"/>
                  </a:cubicBezTo>
                  <a:close/>
                  <a:moveTo>
                    <a:pt x="29748" y="118992"/>
                  </a:moveTo>
                  <a:lnTo>
                    <a:pt x="87226" y="118976"/>
                  </a:lnTo>
                  <a:cubicBezTo>
                    <a:pt x="81389" y="126038"/>
                    <a:pt x="77587" y="134844"/>
                    <a:pt x="76718" y="144494"/>
                  </a:cubicBezTo>
                  <a:lnTo>
                    <a:pt x="29748" y="144491"/>
                  </a:lnTo>
                  <a:cubicBezTo>
                    <a:pt x="27401" y="144491"/>
                    <a:pt x="25498" y="146393"/>
                    <a:pt x="25498" y="148741"/>
                  </a:cubicBezTo>
                  <a:lnTo>
                    <a:pt x="25498" y="203967"/>
                  </a:lnTo>
                  <a:cubicBezTo>
                    <a:pt x="25498" y="227449"/>
                    <a:pt x="44534" y="246484"/>
                    <a:pt x="68017" y="246484"/>
                  </a:cubicBezTo>
                  <a:cubicBezTo>
                    <a:pt x="71416" y="246484"/>
                    <a:pt x="74723" y="246085"/>
                    <a:pt x="77892" y="245332"/>
                  </a:cubicBezTo>
                  <a:cubicBezTo>
                    <a:pt x="79332" y="253898"/>
                    <a:pt x="81961" y="262067"/>
                    <a:pt x="85587" y="269671"/>
                  </a:cubicBezTo>
                  <a:cubicBezTo>
                    <a:pt x="79993" y="271184"/>
                    <a:pt x="74098" y="271983"/>
                    <a:pt x="68017" y="271983"/>
                  </a:cubicBezTo>
                  <a:cubicBezTo>
                    <a:pt x="30452" y="271983"/>
                    <a:pt x="0" y="241531"/>
                    <a:pt x="0" y="203967"/>
                  </a:cubicBezTo>
                  <a:lnTo>
                    <a:pt x="0" y="148741"/>
                  </a:lnTo>
                  <a:cubicBezTo>
                    <a:pt x="0" y="132311"/>
                    <a:pt x="13319" y="118992"/>
                    <a:pt x="29748" y="118992"/>
                  </a:cubicBezTo>
                  <a:close/>
                  <a:moveTo>
                    <a:pt x="252854" y="118976"/>
                  </a:moveTo>
                  <a:lnTo>
                    <a:pt x="310230" y="118992"/>
                  </a:lnTo>
                  <a:cubicBezTo>
                    <a:pt x="326660" y="118992"/>
                    <a:pt x="339978" y="132311"/>
                    <a:pt x="339978" y="148741"/>
                  </a:cubicBezTo>
                  <a:lnTo>
                    <a:pt x="339978" y="203987"/>
                  </a:lnTo>
                  <a:cubicBezTo>
                    <a:pt x="339978" y="241539"/>
                    <a:pt x="309535" y="271983"/>
                    <a:pt x="271983" y="271983"/>
                  </a:cubicBezTo>
                  <a:cubicBezTo>
                    <a:pt x="265924" y="271983"/>
                    <a:pt x="260049" y="271191"/>
                    <a:pt x="254459" y="269703"/>
                  </a:cubicBezTo>
                  <a:cubicBezTo>
                    <a:pt x="258112" y="262084"/>
                    <a:pt x="260743" y="253915"/>
                    <a:pt x="262208" y="245347"/>
                  </a:cubicBezTo>
                  <a:cubicBezTo>
                    <a:pt x="265339" y="246093"/>
                    <a:pt x="268615" y="246484"/>
                    <a:pt x="271983" y="246484"/>
                  </a:cubicBezTo>
                  <a:cubicBezTo>
                    <a:pt x="295453" y="246484"/>
                    <a:pt x="314480" y="227457"/>
                    <a:pt x="314480" y="203987"/>
                  </a:cubicBezTo>
                  <a:lnTo>
                    <a:pt x="314480" y="148741"/>
                  </a:lnTo>
                  <a:cubicBezTo>
                    <a:pt x="314480" y="146393"/>
                    <a:pt x="312578" y="144491"/>
                    <a:pt x="310230" y="144491"/>
                  </a:cubicBezTo>
                  <a:lnTo>
                    <a:pt x="263361" y="144494"/>
                  </a:lnTo>
                  <a:cubicBezTo>
                    <a:pt x="262492" y="134844"/>
                    <a:pt x="258690" y="126038"/>
                    <a:pt x="252854" y="118976"/>
                  </a:cubicBezTo>
                  <a:close/>
                  <a:moveTo>
                    <a:pt x="169989" y="0"/>
                  </a:moveTo>
                  <a:cubicBezTo>
                    <a:pt x="198155" y="0"/>
                    <a:pt x="220986" y="22832"/>
                    <a:pt x="220986" y="50997"/>
                  </a:cubicBezTo>
                  <a:cubicBezTo>
                    <a:pt x="220986" y="79161"/>
                    <a:pt x="198155" y="101994"/>
                    <a:pt x="169989" y="101994"/>
                  </a:cubicBezTo>
                  <a:cubicBezTo>
                    <a:pt x="141824" y="101994"/>
                    <a:pt x="118992" y="79161"/>
                    <a:pt x="118992" y="50997"/>
                  </a:cubicBezTo>
                  <a:cubicBezTo>
                    <a:pt x="118992" y="22832"/>
                    <a:pt x="141824" y="0"/>
                    <a:pt x="169989" y="0"/>
                  </a:cubicBezTo>
                  <a:close/>
                  <a:moveTo>
                    <a:pt x="280482" y="16999"/>
                  </a:moveTo>
                  <a:cubicBezTo>
                    <a:pt x="303953" y="16999"/>
                    <a:pt x="322979" y="36026"/>
                    <a:pt x="322979" y="59496"/>
                  </a:cubicBezTo>
                  <a:cubicBezTo>
                    <a:pt x="322979" y="82967"/>
                    <a:pt x="303953" y="101994"/>
                    <a:pt x="280482" y="101994"/>
                  </a:cubicBezTo>
                  <a:cubicBezTo>
                    <a:pt x="257012" y="101994"/>
                    <a:pt x="237985" y="82967"/>
                    <a:pt x="237985" y="59496"/>
                  </a:cubicBezTo>
                  <a:cubicBezTo>
                    <a:pt x="237985" y="36026"/>
                    <a:pt x="257012" y="16999"/>
                    <a:pt x="280482" y="16999"/>
                  </a:cubicBezTo>
                  <a:close/>
                  <a:moveTo>
                    <a:pt x="59496" y="16999"/>
                  </a:moveTo>
                  <a:cubicBezTo>
                    <a:pt x="82967" y="16999"/>
                    <a:pt x="101994" y="36026"/>
                    <a:pt x="101994" y="59496"/>
                  </a:cubicBezTo>
                  <a:cubicBezTo>
                    <a:pt x="101994" y="82967"/>
                    <a:pt x="82967" y="101994"/>
                    <a:pt x="59496" y="101994"/>
                  </a:cubicBezTo>
                  <a:cubicBezTo>
                    <a:pt x="36026" y="101994"/>
                    <a:pt x="16999" y="82967"/>
                    <a:pt x="16999" y="59496"/>
                  </a:cubicBezTo>
                  <a:cubicBezTo>
                    <a:pt x="16999" y="36026"/>
                    <a:pt x="36026" y="16999"/>
                    <a:pt x="59496" y="16999"/>
                  </a:cubicBezTo>
                  <a:close/>
                  <a:moveTo>
                    <a:pt x="169989" y="25498"/>
                  </a:moveTo>
                  <a:cubicBezTo>
                    <a:pt x="155907" y="25498"/>
                    <a:pt x="144491" y="36914"/>
                    <a:pt x="144491" y="50997"/>
                  </a:cubicBezTo>
                  <a:cubicBezTo>
                    <a:pt x="144491" y="65079"/>
                    <a:pt x="155907" y="76495"/>
                    <a:pt x="169989" y="76495"/>
                  </a:cubicBezTo>
                  <a:cubicBezTo>
                    <a:pt x="184071" y="76495"/>
                    <a:pt x="195488" y="65079"/>
                    <a:pt x="195488" y="50997"/>
                  </a:cubicBezTo>
                  <a:cubicBezTo>
                    <a:pt x="195488" y="36914"/>
                    <a:pt x="184071" y="25498"/>
                    <a:pt x="169989" y="25498"/>
                  </a:cubicBezTo>
                  <a:close/>
                  <a:moveTo>
                    <a:pt x="280482" y="42497"/>
                  </a:moveTo>
                  <a:cubicBezTo>
                    <a:pt x="271094" y="42497"/>
                    <a:pt x="263483" y="50108"/>
                    <a:pt x="263483" y="59496"/>
                  </a:cubicBezTo>
                  <a:cubicBezTo>
                    <a:pt x="263483" y="68884"/>
                    <a:pt x="271094" y="76495"/>
                    <a:pt x="280482" y="76495"/>
                  </a:cubicBezTo>
                  <a:cubicBezTo>
                    <a:pt x="289871" y="76495"/>
                    <a:pt x="297481" y="68884"/>
                    <a:pt x="297481" y="59496"/>
                  </a:cubicBezTo>
                  <a:cubicBezTo>
                    <a:pt x="297481" y="50108"/>
                    <a:pt x="289871" y="42497"/>
                    <a:pt x="280482" y="42497"/>
                  </a:cubicBezTo>
                  <a:close/>
                  <a:moveTo>
                    <a:pt x="59496" y="42497"/>
                  </a:moveTo>
                  <a:cubicBezTo>
                    <a:pt x="50108" y="42497"/>
                    <a:pt x="42497" y="50108"/>
                    <a:pt x="42497" y="59496"/>
                  </a:cubicBezTo>
                  <a:cubicBezTo>
                    <a:pt x="42497" y="68884"/>
                    <a:pt x="50108" y="76495"/>
                    <a:pt x="59496" y="76495"/>
                  </a:cubicBezTo>
                  <a:cubicBezTo>
                    <a:pt x="68884" y="76495"/>
                    <a:pt x="76495" y="68884"/>
                    <a:pt x="76495" y="59496"/>
                  </a:cubicBezTo>
                  <a:cubicBezTo>
                    <a:pt x="76495" y="50108"/>
                    <a:pt x="68884" y="42497"/>
                    <a:pt x="59496" y="42497"/>
                  </a:cubicBez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sp>
        <p:nvSpPr>
          <p:cNvPr id="10" name="Title 9">
            <a:extLst>
              <a:ext uri="{FF2B5EF4-FFF2-40B4-BE49-F238E27FC236}">
                <a16:creationId xmlns:a16="http://schemas.microsoft.com/office/drawing/2014/main" id="{CD66C5B6-7A27-C090-C64C-53CC3FB1A24C}"/>
              </a:ext>
            </a:extLst>
          </p:cNvPr>
          <p:cNvSpPr>
            <a:spLocks noGrp="1"/>
          </p:cNvSpPr>
          <p:nvPr>
            <p:ph type="title"/>
          </p:nvPr>
        </p:nvSpPr>
        <p:spPr/>
        <p:txBody>
          <a:bodyPr/>
          <a:lstStyle/>
          <a:p>
            <a:r>
              <a:rPr lang="en-US"/>
              <a:t>Speakers &amp; supporting team</a:t>
            </a:r>
            <a:endParaRPr lang="en-GB"/>
          </a:p>
        </p:txBody>
      </p:sp>
      <p:sp>
        <p:nvSpPr>
          <p:cNvPr id="5" name="TextBox 7, chunk 1, chunk 1">
            <a:extLst>
              <a:ext uri="{FF2B5EF4-FFF2-40B4-BE49-F238E27FC236}">
                <a16:creationId xmlns:a16="http://schemas.microsoft.com/office/drawing/2014/main" id="{E5A1570F-37B3-FE97-3693-3D396D399910}"/>
              </a:ext>
            </a:extLst>
          </p:cNvPr>
          <p:cNvSpPr txBox="1"/>
          <p:nvPr/>
        </p:nvSpPr>
        <p:spPr>
          <a:xfrm>
            <a:off x="1447801" y="1619568"/>
            <a:ext cx="9988184" cy="2523768"/>
          </a:xfrm>
          <a:prstGeom prst="rect">
            <a:avLst/>
          </a:prstGeom>
          <a:noFill/>
        </p:spPr>
        <p:txBody>
          <a:bodyPr wrap="square" lIns="0" tIns="0" rIns="0" bIns="0" numCol="1" rtlCol="0" anchor="t">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Key speakers needed</a:t>
            </a:r>
          </a:p>
          <a:p>
            <a:pPr marL="375920" indent="-238125">
              <a:spcAft>
                <a:spcPts val="800"/>
              </a:spcAft>
              <a:buFont typeface="Arial" panose="020B0604020202020204" pitchFamily="34" charset="0"/>
              <a:buChar char="•"/>
              <a:defRPr/>
            </a:pPr>
            <a:r>
              <a:rPr kumimoji="0" lang="en-US" sz="1800" b="0" i="0" u="none" strike="noStrike" kern="0" cap="none" spc="0" normalizeH="0" baseline="0" noProof="0">
                <a:ln>
                  <a:noFill/>
                </a:ln>
                <a:effectLst/>
                <a:uLnTx/>
                <a:uFillTx/>
                <a:latin typeface="Segoe UI"/>
                <a:ea typeface="+mn-ea"/>
                <a:cs typeface="+mn-cs"/>
              </a:rPr>
              <a:t>At minimum 1 Lead speaker will be needed to cover the content for the day and to facilitate the Hackathon session. Ideally you will need 2–3 speakers to cover the various topics in the first half. Consider contacting your </a:t>
            </a:r>
            <a:r>
              <a:rPr lang="en-US" sz="1800"/>
              <a:t>key partner or Microsoft rep</a:t>
            </a:r>
            <a:r>
              <a:rPr kumimoji="0" lang="en-US" sz="1800" b="0" i="0" u="none" strike="noStrike" kern="0" cap="none" spc="0" normalizeH="0" baseline="0" noProof="0">
                <a:ln>
                  <a:noFill/>
                </a:ln>
                <a:effectLst/>
                <a:uLnTx/>
                <a:uFillTx/>
                <a:latin typeface="Segoe UI"/>
                <a:ea typeface="+mn-ea"/>
                <a:cs typeface="+mn-cs"/>
              </a:rPr>
              <a:t> for event speaker support</a:t>
            </a:r>
            <a:r>
              <a:rPr lang="en-US" sz="1800"/>
              <a:t>.</a:t>
            </a:r>
            <a:endParaRPr lang="en-US" sz="1800" b="0" i="0" u="none" strike="noStrike" kern="0" cap="none" spc="0" normalizeH="0" baseline="0" noProof="0">
              <a:ln>
                <a:noFill/>
              </a:ln>
              <a:effectLst/>
              <a:uLnTx/>
              <a:uFillTx/>
              <a:latin typeface="Segoe UI"/>
              <a:cs typeface="Segoe UI"/>
            </a:endParaRPr>
          </a:p>
          <a:p>
            <a:pPr marL="375920" indent="-238125">
              <a:spcAft>
                <a:spcPts val="800"/>
              </a:spcAft>
              <a:buFont typeface="Arial" panose="020B0604020202020204" pitchFamily="34" charset="0"/>
              <a:buChar char="•"/>
              <a:defRPr/>
            </a:pPr>
            <a:r>
              <a:rPr kumimoji="0" lang="en-US" sz="1800" b="0" i="0" u="none" strike="noStrike" kern="0" cap="none" spc="0" normalizeH="0" baseline="0" noProof="0">
                <a:ln>
                  <a:noFill/>
                </a:ln>
                <a:effectLst/>
                <a:uLnTx/>
                <a:uFillTx/>
                <a:latin typeface="Segoe UI"/>
                <a:ea typeface="+mn-ea"/>
                <a:cs typeface="+mn-cs"/>
              </a:rPr>
              <a:t>Assuming 10 </a:t>
            </a:r>
            <a:r>
              <a:rPr lang="en-US" sz="1800"/>
              <a:t>groups</a:t>
            </a:r>
            <a:r>
              <a:rPr kumimoji="0" lang="en-US" sz="1800" b="0" i="0" u="none" strike="noStrike" kern="0" cap="none" spc="0" normalizeH="0" baseline="0" noProof="0">
                <a:ln>
                  <a:noFill/>
                </a:ln>
                <a:effectLst/>
                <a:uLnTx/>
                <a:uFillTx/>
                <a:latin typeface="Segoe UI"/>
                <a:ea typeface="+mn-ea"/>
                <a:cs typeface="+mn-cs"/>
              </a:rPr>
              <a:t> attend there will need to be 4–5 technical SMEs</a:t>
            </a:r>
            <a:r>
              <a:rPr lang="en-US" sz="1800"/>
              <a:t> </a:t>
            </a:r>
            <a:r>
              <a:rPr kumimoji="0" lang="en-US" sz="1800" b="0" i="0" u="none" strike="noStrike" kern="0" cap="none" spc="0" normalizeH="0" baseline="0" noProof="0">
                <a:ln>
                  <a:noFill/>
                </a:ln>
                <a:effectLst/>
                <a:uLnTx/>
                <a:uFillTx/>
                <a:latin typeface="Segoe UI"/>
                <a:ea typeface="+mn-ea"/>
                <a:cs typeface="+mn-cs"/>
              </a:rPr>
              <a:t>who can float between the groups and support with technical questions</a:t>
            </a:r>
            <a:r>
              <a:rPr lang="en-US" sz="1800"/>
              <a:t>.</a:t>
            </a:r>
            <a:endParaRPr lang="en-US" sz="1800" b="0" i="0" u="none" strike="noStrike" kern="0" cap="none" spc="0" normalizeH="0" baseline="0" noProof="0">
              <a:ln>
                <a:noFill/>
              </a:ln>
              <a:effectLst/>
              <a:uLnTx/>
              <a:uFillTx/>
              <a:latin typeface="Segoe UI"/>
              <a:cs typeface="Segoe UI"/>
            </a:endParaRPr>
          </a:p>
          <a:p>
            <a:pPr marL="375920" indent="-238125">
              <a:spcAft>
                <a:spcPts val="800"/>
              </a:spcAft>
              <a:buFont typeface="Arial" panose="020B0604020202020204" pitchFamily="34" charset="0"/>
              <a:buChar char="•"/>
              <a:defRPr/>
            </a:pPr>
            <a:r>
              <a:rPr kumimoji="0" lang="en-US" sz="1800" b="0" i="0" u="none" strike="noStrike" kern="0" cap="none" spc="0" normalizeH="0" baseline="0" noProof="0">
                <a:ln>
                  <a:noFill/>
                </a:ln>
                <a:effectLst/>
                <a:uLnTx/>
                <a:uFillTx/>
                <a:latin typeface="Segoe UI"/>
                <a:ea typeface="+mn-ea"/>
                <a:cs typeface="+mn-cs"/>
              </a:rPr>
              <a:t>If there are not enough local technical SMEs to manage each group, consider inviting </a:t>
            </a:r>
            <a:r>
              <a:rPr lang="en-US" sz="1800"/>
              <a:t>your key</a:t>
            </a:r>
            <a:r>
              <a:rPr kumimoji="0" lang="en-US" sz="1800" b="0" i="0" u="none" strike="noStrike" kern="0" cap="none" spc="0" normalizeH="0" baseline="0" noProof="0">
                <a:ln>
                  <a:noFill/>
                </a:ln>
                <a:effectLst/>
                <a:uLnTx/>
                <a:uFillTx/>
                <a:latin typeface="Segoe UI"/>
                <a:ea typeface="+mn-ea"/>
                <a:cs typeface="+mn-cs"/>
              </a:rPr>
              <a:t> </a:t>
            </a:r>
            <a:r>
              <a:rPr lang="en-US" sz="1800"/>
              <a:t>partner technical resources to support</a:t>
            </a:r>
            <a:r>
              <a:rPr kumimoji="0" lang="en-US" sz="1800" b="0" i="0" u="none" strike="noStrike" kern="0" cap="none" spc="0" normalizeH="0" baseline="0" noProof="0">
                <a:ln>
                  <a:noFill/>
                </a:ln>
                <a:effectLst/>
                <a:uLnTx/>
                <a:uFillTx/>
                <a:latin typeface="Segoe UI"/>
                <a:ea typeface="+mn-ea"/>
                <a:cs typeface="+mn-cs"/>
              </a:rPr>
              <a:t> the event</a:t>
            </a:r>
            <a:r>
              <a:rPr lang="en-US" sz="1800"/>
              <a:t>.</a:t>
            </a:r>
            <a:endParaRPr lang="en-US" sz="1800" b="0" i="0" u="none" strike="noStrike" kern="0" cap="none" spc="0" normalizeH="0" baseline="0" noProof="0">
              <a:ln>
                <a:noFill/>
              </a:ln>
              <a:effectLst/>
              <a:uLnTx/>
              <a:uFillTx/>
              <a:latin typeface="Segoe UI"/>
              <a:cs typeface="Segoe UI"/>
            </a:endParaRPr>
          </a:p>
        </p:txBody>
      </p:sp>
      <p:sp>
        <p:nvSpPr>
          <p:cNvPr id="11" name="TextBox 7, chunk 1, chunk 1">
            <a:extLst>
              <a:ext uri="{FF2B5EF4-FFF2-40B4-BE49-F238E27FC236}">
                <a16:creationId xmlns:a16="http://schemas.microsoft.com/office/drawing/2014/main" id="{10D4F9CB-BB6A-2266-07BC-E7BB4A0863EC}"/>
              </a:ext>
            </a:extLst>
          </p:cNvPr>
          <p:cNvSpPr txBox="1"/>
          <p:nvPr/>
        </p:nvSpPr>
        <p:spPr>
          <a:xfrm>
            <a:off x="1447801" y="4841736"/>
            <a:ext cx="9988184" cy="1261884"/>
          </a:xfrm>
          <a:prstGeom prst="rect">
            <a:avLst/>
          </a:prstGeom>
          <a:noFill/>
        </p:spPr>
        <p:txBody>
          <a:bodyPr wrap="square" lIns="0" tIns="0" rIns="0" bIns="0" numCol="1" rtlCol="0" anchor="t">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Support roles</a:t>
            </a:r>
          </a:p>
          <a:p>
            <a:pPr marL="376238" marR="0" lvl="0" indent="-238125"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0" cap="none" spc="0" normalizeH="0" baseline="0" noProof="0">
                <a:ln>
                  <a:noFill/>
                </a:ln>
                <a:solidFill>
                  <a:prstClr val="black"/>
                </a:solidFill>
                <a:effectLst/>
                <a:uLnTx/>
                <a:uFillTx/>
                <a:latin typeface="Segoe UI"/>
                <a:ea typeface="+mn-ea"/>
                <a:cs typeface="+mn-cs"/>
              </a:rPr>
              <a:t>Time-keeper – Support with breakout grouping, time management</a:t>
            </a:r>
          </a:p>
          <a:p>
            <a:pPr marL="376238" marR="0" lvl="0" indent="-238125"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0" cap="none" spc="0" normalizeH="0" baseline="0" noProof="0">
                <a:ln>
                  <a:noFill/>
                </a:ln>
                <a:solidFill>
                  <a:prstClr val="black"/>
                </a:solidFill>
                <a:effectLst/>
                <a:uLnTx/>
                <a:uFillTx/>
                <a:latin typeface="Segoe UI"/>
                <a:ea typeface="+mn-ea"/>
                <a:cs typeface="+mn-cs"/>
              </a:rPr>
              <a:t>Score-keeper – To tally scores from the presentations or run a poll if a competitive element</a:t>
            </a:r>
            <a:br>
              <a:rPr kumimoji="0" lang="en-US" sz="1800" b="0" i="0" u="none" strike="noStrike" kern="0" cap="none" spc="0" normalizeH="0" baseline="0" noProof="0">
                <a:ln>
                  <a:noFill/>
                </a:ln>
                <a:solidFill>
                  <a:prstClr val="black"/>
                </a:solidFill>
                <a:effectLst/>
                <a:uLnTx/>
                <a:uFillTx/>
                <a:latin typeface="Segoe UI"/>
                <a:ea typeface="+mn-ea"/>
                <a:cs typeface="+mn-cs"/>
              </a:rPr>
            </a:br>
            <a:r>
              <a:rPr kumimoji="0" lang="en-US" sz="1800" b="0" i="0" u="none" strike="noStrike" kern="0" cap="none" spc="0" normalizeH="0" baseline="0" noProof="0">
                <a:ln>
                  <a:noFill/>
                </a:ln>
                <a:solidFill>
                  <a:prstClr val="black"/>
                </a:solidFill>
                <a:effectLst/>
                <a:uLnTx/>
                <a:uFillTx/>
                <a:latin typeface="Segoe UI"/>
                <a:ea typeface="+mn-ea"/>
                <a:cs typeface="+mn-cs"/>
              </a:rPr>
              <a:t>is added</a:t>
            </a:r>
          </a:p>
        </p:txBody>
      </p:sp>
    </p:spTree>
    <p:extLst>
      <p:ext uri="{BB962C8B-B14F-4D97-AF65-F5344CB8AC3E}">
        <p14:creationId xmlns:p14="http://schemas.microsoft.com/office/powerpoint/2010/main" val="12354767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A2D0029E-3A92-8EEE-CB95-40268F78699B}"/>
            </a:ext>
          </a:extLst>
        </p:cNvPr>
        <p:cNvGrpSpPr/>
        <p:nvPr/>
      </p:nvGrpSpPr>
      <p:grpSpPr>
        <a:xfrm>
          <a:off x="0" y="0"/>
          <a:ext cx="0" cy="0"/>
          <a:chOff x="0" y="0"/>
          <a:chExt cx="0" cy="0"/>
        </a:xfrm>
      </p:grpSpPr>
      <p:pic>
        <p:nvPicPr>
          <p:cNvPr id="25" name="Picture 24">
            <a:extLst>
              <a:ext uri="{FF2B5EF4-FFF2-40B4-BE49-F238E27FC236}">
                <a16:creationId xmlns:a16="http://schemas.microsoft.com/office/drawing/2014/main" id="{9429CD6D-482B-5F84-FED6-586775163A31}"/>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8564811" y="0"/>
            <a:ext cx="3627189" cy="2380343"/>
          </a:xfrm>
          <a:prstGeom prst="rect">
            <a:avLst/>
          </a:prstGeom>
        </p:spPr>
      </p:pic>
      <p:sp>
        <p:nvSpPr>
          <p:cNvPr id="5" name="Rectangle: Rounded Corners 50">
            <a:extLst>
              <a:ext uri="{FF2B5EF4-FFF2-40B4-BE49-F238E27FC236}">
                <a16:creationId xmlns:a16="http://schemas.microsoft.com/office/drawing/2014/main" id="{645DBEF8-1232-673F-FA67-EA4D357817FA}"/>
              </a:ext>
              <a:ext uri="{C183D7F6-B498-43B3-948B-1728B52AA6E4}">
                <adec:decorative xmlns:adec="http://schemas.microsoft.com/office/drawing/2017/decorative" val="1"/>
              </a:ext>
            </a:extLst>
          </p:cNvPr>
          <p:cNvSpPr>
            <a:spLocks/>
          </p:cNvSpPr>
          <p:nvPr/>
        </p:nvSpPr>
        <p:spPr bwMode="auto">
          <a:xfrm>
            <a:off x="503464" y="1436688"/>
            <a:ext cx="11185072" cy="3318192"/>
          </a:xfrm>
          <a:prstGeom prst="roundRect">
            <a:avLst>
              <a:gd name="adj" fmla="val 4167"/>
            </a:avLst>
          </a:prstGeom>
          <a:solidFill>
            <a:schemeClr val="bg1"/>
          </a:solidFill>
          <a:ln>
            <a:noFill/>
          </a:ln>
          <a:effectLst>
            <a:outerShdw blurRad="2286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1200"/>
              </a:spcAft>
              <a:buClrTx/>
              <a:buSzTx/>
              <a:buFontTx/>
              <a:buNone/>
              <a:tabLst>
                <a:tab pos="457200" algn="l"/>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 name="Rectangle: Rounded Corners 50">
            <a:extLst>
              <a:ext uri="{FF2B5EF4-FFF2-40B4-BE49-F238E27FC236}">
                <a16:creationId xmlns:a16="http://schemas.microsoft.com/office/drawing/2014/main" id="{B0D07D96-B276-F0D3-492F-914180B779CD}"/>
              </a:ext>
              <a:ext uri="{C183D7F6-B498-43B3-948B-1728B52AA6E4}">
                <adec:decorative xmlns:adec="http://schemas.microsoft.com/office/drawing/2017/decorative" val="1"/>
              </a:ext>
            </a:extLst>
          </p:cNvPr>
          <p:cNvSpPr>
            <a:spLocks/>
          </p:cNvSpPr>
          <p:nvPr/>
        </p:nvSpPr>
        <p:spPr bwMode="auto">
          <a:xfrm>
            <a:off x="512756" y="4897120"/>
            <a:ext cx="11185072" cy="1385292"/>
          </a:xfrm>
          <a:prstGeom prst="roundRect">
            <a:avLst>
              <a:gd name="adj" fmla="val 10989"/>
            </a:avLst>
          </a:prstGeom>
          <a:solidFill>
            <a:schemeClr val="bg1"/>
          </a:solidFill>
          <a:ln>
            <a:noFill/>
          </a:ln>
          <a:effectLst>
            <a:outerShdw blurRad="2286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1200"/>
              </a:spcAft>
              <a:buClrTx/>
              <a:buSzTx/>
              <a:buFontTx/>
              <a:buNone/>
              <a:tabLst>
                <a:tab pos="457200" algn="l"/>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Title 9">
            <a:extLst>
              <a:ext uri="{FF2B5EF4-FFF2-40B4-BE49-F238E27FC236}">
                <a16:creationId xmlns:a16="http://schemas.microsoft.com/office/drawing/2014/main" id="{E16E48B2-F0A9-EF35-0DF7-2DF2105DFEE8}"/>
              </a:ext>
            </a:extLst>
          </p:cNvPr>
          <p:cNvSpPr>
            <a:spLocks noGrp="1"/>
          </p:cNvSpPr>
          <p:nvPr>
            <p:ph type="title"/>
          </p:nvPr>
        </p:nvSpPr>
        <p:spPr>
          <a:xfrm>
            <a:off x="511628" y="574386"/>
            <a:ext cx="11185072" cy="498598"/>
          </a:xfrm>
        </p:spPr>
        <p:txBody>
          <a:bodyPr/>
          <a:lstStyle/>
          <a:p>
            <a:r>
              <a:rPr lang="en-US"/>
              <a:t>Event recommendations </a:t>
            </a:r>
            <a:endParaRPr lang="en-GB"/>
          </a:p>
        </p:txBody>
      </p:sp>
      <p:sp>
        <p:nvSpPr>
          <p:cNvPr id="7" name="TextBox 6">
            <a:extLst>
              <a:ext uri="{FF2B5EF4-FFF2-40B4-BE49-F238E27FC236}">
                <a16:creationId xmlns:a16="http://schemas.microsoft.com/office/drawing/2014/main" id="{74659594-3028-BA35-FB94-C85B14D34E89}"/>
              </a:ext>
            </a:extLst>
          </p:cNvPr>
          <p:cNvSpPr txBox="1"/>
          <p:nvPr/>
        </p:nvSpPr>
        <p:spPr>
          <a:xfrm>
            <a:off x="686345" y="1619568"/>
            <a:ext cx="10819310" cy="457200"/>
          </a:xfrm>
          <a:prstGeom prst="roundRect">
            <a:avLst>
              <a:gd name="adj" fmla="val 50000"/>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37160" rIns="182880" bIns="137160" rtlCol="0" anchor="ct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solidFill>
                  <a:schemeClr val="bg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On-the-day event recommendations</a:t>
            </a:r>
          </a:p>
        </p:txBody>
      </p:sp>
      <p:sp>
        <p:nvSpPr>
          <p:cNvPr id="16" name="TextBox 7, chunk 1, chunk 1">
            <a:extLst>
              <a:ext uri="{FF2B5EF4-FFF2-40B4-BE49-F238E27FC236}">
                <a16:creationId xmlns:a16="http://schemas.microsoft.com/office/drawing/2014/main" id="{9EAA7E37-6FC5-AECC-0779-617A3C12D49B}"/>
              </a:ext>
            </a:extLst>
          </p:cNvPr>
          <p:cNvSpPr txBox="1"/>
          <p:nvPr/>
        </p:nvSpPr>
        <p:spPr>
          <a:xfrm>
            <a:off x="840264" y="2149535"/>
            <a:ext cx="10511474" cy="2451953"/>
          </a:xfrm>
          <a:prstGeom prst="rect">
            <a:avLst/>
          </a:prstGeom>
          <a:noFill/>
        </p:spPr>
        <p:txBody>
          <a:bodyPr wrap="square" lIns="0" tIns="0" rIns="0" bIns="0" numCol="1" rtlCol="0" anchor="t">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198120" marR="0" lvl="0" indent="-19812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400" b="0" i="0" u="none" strike="noStrike" kern="0" cap="none" spc="0" normalizeH="0" baseline="0" noProof="0">
                <a:ln>
                  <a:noFill/>
                </a:ln>
                <a:effectLst/>
                <a:uLnTx/>
                <a:uFillTx/>
                <a:latin typeface="Segoe UI"/>
                <a:ea typeface="+mn-ea"/>
                <a:cs typeface="+mn-cs"/>
              </a:rPr>
              <a:t>For the Hackathon, you’ll need to share the Prompt Guide with all the attendees. The best practice is to put it in a Public One-Drive folder and provide a link to it. If participants are restricted from accessing content outside their organization – It’s best that you have printed handouts ready.</a:t>
            </a:r>
            <a:endParaRPr lang="en-US">
              <a:ea typeface="+mn-ea"/>
              <a:cs typeface="+mn-cs"/>
            </a:endParaRPr>
          </a:p>
          <a:p>
            <a:pPr marL="198120" indent="-198120">
              <a:spcAft>
                <a:spcPts val="1000"/>
              </a:spcAft>
              <a:buFont typeface="Arial" panose="020B0604020202020204" pitchFamily="34" charset="0"/>
              <a:buChar char="•"/>
              <a:defRPr/>
            </a:pPr>
            <a:r>
              <a:rPr kumimoji="0" lang="en-US" sz="1400" b="0" i="0" u="none" strike="noStrike" kern="0" cap="none" spc="0" normalizeH="0" baseline="0" noProof="0">
                <a:ln>
                  <a:noFill/>
                </a:ln>
                <a:effectLst/>
                <a:uLnTx/>
                <a:uFillTx/>
                <a:latin typeface="Segoe UI"/>
                <a:ea typeface="+mn-ea"/>
                <a:cs typeface="+mn-cs"/>
              </a:rPr>
              <a:t>Some</a:t>
            </a:r>
            <a:r>
              <a:rPr lang="en-US" sz="1400"/>
              <a:t> </a:t>
            </a:r>
            <a:r>
              <a:rPr kumimoji="0" lang="en-US" sz="1400" b="0" i="0" u="none" strike="noStrike" kern="0" cap="none" spc="0" normalizeH="0" baseline="0" noProof="0">
                <a:ln>
                  <a:noFill/>
                </a:ln>
                <a:effectLst/>
                <a:uLnTx/>
                <a:uFillTx/>
                <a:latin typeface="Segoe UI"/>
                <a:ea typeface="+mn-ea"/>
                <a:cs typeface="+mn-cs"/>
              </a:rPr>
              <a:t>groups may show up without a laptop – Consider having one of the floating technical SMEs sit with them throughout the hack session.</a:t>
            </a:r>
            <a:endParaRPr lang="en-US" sz="1400" b="0" i="0" u="none" strike="noStrike" kern="0" cap="none" spc="0" normalizeH="0" baseline="0" noProof="0">
              <a:ln>
                <a:noFill/>
              </a:ln>
              <a:effectLst/>
              <a:uLnTx/>
              <a:uFillTx/>
              <a:latin typeface="Segoe UI"/>
              <a:cs typeface="Segoe UI"/>
            </a:endParaRPr>
          </a:p>
          <a:p>
            <a:pPr marL="198120" marR="0" lvl="0" indent="-19812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400" b="0" i="0" u="none" strike="noStrike" kern="0" cap="none" spc="0" normalizeH="0" baseline="0" noProof="0">
                <a:ln>
                  <a:noFill/>
                </a:ln>
                <a:effectLst/>
                <a:uLnTx/>
                <a:uFillTx/>
                <a:latin typeface="Segoe UI"/>
                <a:ea typeface="+mn-ea"/>
                <a:cs typeface="+mn-cs"/>
              </a:rPr>
              <a:t>Some groups may not have the ability to create agents – The recommendation will be to use Copilot Chat as a substitute – They will still be able to ideate and fill out the template.</a:t>
            </a:r>
            <a:endParaRPr lang="en-US" sz="1400" b="0" i="0" u="none" strike="noStrike" kern="0" cap="none" spc="0" normalizeH="0" baseline="0" noProof="0">
              <a:ln>
                <a:noFill/>
              </a:ln>
              <a:effectLst/>
              <a:uLnTx/>
              <a:uFillTx/>
              <a:latin typeface="Segoe UI"/>
              <a:cs typeface="Segoe UI"/>
            </a:endParaRPr>
          </a:p>
          <a:p>
            <a:pPr marL="198120" marR="0" lvl="0" indent="-19812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400" b="0" i="0" u="none" strike="noStrike" kern="0" cap="none" spc="0" normalizeH="0" baseline="0" noProof="0">
                <a:ln>
                  <a:noFill/>
                </a:ln>
                <a:effectLst/>
                <a:uLnTx/>
                <a:uFillTx/>
                <a:latin typeface="Segoe UI"/>
                <a:ea typeface="+mn-ea"/>
                <a:cs typeface="+mn-cs"/>
              </a:rPr>
              <a:t>If </a:t>
            </a:r>
            <a:r>
              <a:rPr lang="en-US" sz="1400"/>
              <a:t>users</a:t>
            </a:r>
            <a:r>
              <a:rPr kumimoji="0" lang="en-US" sz="1400" b="0" i="0" u="none" strike="noStrike" kern="0" cap="none" spc="0" normalizeH="0" baseline="0" noProof="0">
                <a:ln>
                  <a:noFill/>
                </a:ln>
                <a:effectLst/>
                <a:uLnTx/>
                <a:uFillTx/>
                <a:latin typeface="Segoe UI"/>
                <a:ea typeface="+mn-ea"/>
                <a:cs typeface="+mn-cs"/>
              </a:rPr>
              <a:t> don’t have the ability to create videos – They may opt to present the template and a working agent prototype.</a:t>
            </a:r>
            <a:endParaRPr lang="en-US" sz="1400" b="0" i="0" u="none" strike="noStrike" kern="0" cap="none" spc="0" normalizeH="0" baseline="0" noProof="0">
              <a:ln>
                <a:noFill/>
              </a:ln>
              <a:effectLst/>
              <a:uLnTx/>
              <a:uFillTx/>
              <a:latin typeface="Segoe UI"/>
              <a:cs typeface="Segoe UI"/>
            </a:endParaRPr>
          </a:p>
          <a:p>
            <a:pPr marL="198120" marR="0" lvl="0" indent="-19812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400" b="0" i="0" u="none" strike="noStrike" kern="0" cap="none" spc="0" normalizeH="0" baseline="0" noProof="0">
                <a:ln>
                  <a:noFill/>
                </a:ln>
                <a:effectLst/>
                <a:uLnTx/>
                <a:uFillTx/>
                <a:latin typeface="Segoe UI"/>
                <a:ea typeface="+mn-ea"/>
                <a:cs typeface="+mn-cs"/>
              </a:rPr>
              <a:t>Run an event survey to get </a:t>
            </a:r>
            <a:r>
              <a:rPr lang="en-US" sz="1400"/>
              <a:t>user</a:t>
            </a:r>
            <a:r>
              <a:rPr kumimoji="0" lang="en-US" sz="1400" b="0" i="0" u="none" strike="noStrike" kern="0" cap="none" spc="0" normalizeH="0" baseline="0" noProof="0">
                <a:ln>
                  <a:noFill/>
                </a:ln>
                <a:effectLst/>
                <a:uLnTx/>
                <a:uFillTx/>
                <a:latin typeface="Segoe UI"/>
                <a:ea typeface="+mn-ea"/>
                <a:cs typeface="+mn-cs"/>
              </a:rPr>
              <a:t> feedback. (</a:t>
            </a:r>
            <a:r>
              <a:rPr kumimoji="0" lang="en-US" sz="1400" b="0" i="0" u="none" strike="noStrike" kern="0" cap="none" spc="0" normalizeH="0" baseline="0" noProof="0">
                <a:ln>
                  <a:noFill/>
                </a:ln>
                <a:effectLst/>
                <a:uLnTx/>
                <a:uFillTx/>
                <a:latin typeface="Segoe UI"/>
                <a:ea typeface="+mn-ea"/>
                <a:cs typeface="+mn-cs"/>
                <a:hlinkClick r:id="rId5">
                  <a:extLst>
                    <a:ext uri="{A12FA001-AC4F-418D-AE19-62706E023703}">
                      <ahyp:hlinkClr xmlns:ahyp="http://schemas.microsoft.com/office/drawing/2018/hyperlinkcolor" val="tx"/>
                    </a:ext>
                  </a:extLst>
                </a:hlinkClick>
              </a:rPr>
              <a:t>sample survey from a similar event</a:t>
            </a:r>
            <a:r>
              <a:rPr kumimoji="0" lang="en-US" sz="1400" b="0" i="0" u="none" strike="noStrike" kern="0" cap="none" spc="0" normalizeH="0" baseline="0" noProof="0">
                <a:ln>
                  <a:noFill/>
                </a:ln>
                <a:effectLst/>
                <a:uLnTx/>
                <a:uFillTx/>
                <a:latin typeface="Segoe UI"/>
                <a:ea typeface="+mn-ea"/>
                <a:cs typeface="+mn-cs"/>
              </a:rPr>
              <a:t>)</a:t>
            </a:r>
            <a:endParaRPr lang="en-US" sz="1400" b="0" i="0" u="none" strike="noStrike" kern="0" cap="none" spc="0" normalizeH="0" baseline="0" noProof="0">
              <a:ln>
                <a:noFill/>
              </a:ln>
              <a:effectLst/>
              <a:uLnTx/>
              <a:uFillTx/>
              <a:latin typeface="Segoe UI"/>
              <a:cs typeface="Segoe UI"/>
            </a:endParaRPr>
          </a:p>
        </p:txBody>
      </p:sp>
      <p:sp>
        <p:nvSpPr>
          <p:cNvPr id="21" name="TextBox 20">
            <a:extLst>
              <a:ext uri="{FF2B5EF4-FFF2-40B4-BE49-F238E27FC236}">
                <a16:creationId xmlns:a16="http://schemas.microsoft.com/office/drawing/2014/main" id="{05B96756-3562-2F95-6F33-F5809B0DB73A}"/>
              </a:ext>
            </a:extLst>
          </p:cNvPr>
          <p:cNvSpPr txBox="1"/>
          <p:nvPr/>
        </p:nvSpPr>
        <p:spPr>
          <a:xfrm>
            <a:off x="686345" y="5080000"/>
            <a:ext cx="10819310" cy="457200"/>
          </a:xfrm>
          <a:prstGeom prst="roundRect">
            <a:avLst>
              <a:gd name="adj" fmla="val 50000"/>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37160" rIns="182880" bIns="137160" rtlCol="0" anchor="ct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solidFill>
                  <a:schemeClr val="bg1"/>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Post event recommendations</a:t>
            </a:r>
          </a:p>
        </p:txBody>
      </p:sp>
      <p:sp>
        <p:nvSpPr>
          <p:cNvPr id="23" name="TextBox 7, chunk 1, chunk 1">
            <a:extLst>
              <a:ext uri="{FF2B5EF4-FFF2-40B4-BE49-F238E27FC236}">
                <a16:creationId xmlns:a16="http://schemas.microsoft.com/office/drawing/2014/main" id="{5B39DF65-EF61-2AA9-8370-0E218C365815}"/>
              </a:ext>
            </a:extLst>
          </p:cNvPr>
          <p:cNvSpPr txBox="1"/>
          <p:nvPr/>
        </p:nvSpPr>
        <p:spPr>
          <a:xfrm>
            <a:off x="840263" y="5679440"/>
            <a:ext cx="10511474" cy="215444"/>
          </a:xfrm>
          <a:prstGeom prst="rect">
            <a:avLst/>
          </a:prstGeom>
          <a:noFill/>
        </p:spPr>
        <p:txBody>
          <a:bodyPr wrap="square" lIns="0" tIns="0" rIns="0" bIns="0" numCol="1" rtlCol="0" anchor="t">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kern="0" cap="none" spc="0" normalizeH="0" baseline="0">
                <a:ln>
                  <a:noFill/>
                </a:ln>
                <a:solidFill>
                  <a:prstClr val="black"/>
                </a:solidFill>
                <a:effectLst/>
                <a:uLnTx/>
                <a:uFillTx/>
                <a:latin typeface="Segoe UI"/>
              </a:defRPr>
            </a:lvl1pPr>
          </a:lstStyle>
          <a:p>
            <a:pPr marL="198120" indent="-198120">
              <a:spcAft>
                <a:spcPts val="1000"/>
              </a:spcAft>
              <a:buFont typeface="Arial" panose="020B0604020202020204" pitchFamily="34" charset="0"/>
              <a:buChar char="•"/>
              <a:defRPr/>
            </a:pPr>
            <a:r>
              <a:rPr lang="en-US" sz="1400"/>
              <a:t>Position any added trainings that your organization offers for Copilot.</a:t>
            </a: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grpSp>
        <p:nvGrpSpPr>
          <p:cNvPr id="37" name="Group 36">
            <a:extLst>
              <a:ext uri="{FF2B5EF4-FFF2-40B4-BE49-F238E27FC236}">
                <a16:creationId xmlns:a16="http://schemas.microsoft.com/office/drawing/2014/main" id="{C284EA38-FA52-F5B0-E08B-AC7C1B82B3CD}"/>
              </a:ext>
              <a:ext uri="{C183D7F6-B498-43B3-948B-1728B52AA6E4}">
                <adec:decorative xmlns:adec="http://schemas.microsoft.com/office/drawing/2017/decorative" val="1"/>
              </a:ext>
            </a:extLst>
          </p:cNvPr>
          <p:cNvGrpSpPr/>
          <p:nvPr/>
        </p:nvGrpSpPr>
        <p:grpSpPr>
          <a:xfrm>
            <a:off x="11098527" y="1670209"/>
            <a:ext cx="355918" cy="355918"/>
            <a:chOff x="11098527" y="1670209"/>
            <a:chExt cx="355918" cy="355918"/>
          </a:xfrm>
        </p:grpSpPr>
        <p:sp>
          <p:nvSpPr>
            <p:cNvPr id="11" name="Oval 10">
              <a:extLst>
                <a:ext uri="{FF2B5EF4-FFF2-40B4-BE49-F238E27FC236}">
                  <a16:creationId xmlns:a16="http://schemas.microsoft.com/office/drawing/2014/main" id="{E37B3CA8-8CAD-A258-DE07-7DBDB369F333}"/>
                </a:ext>
              </a:extLst>
            </p:cNvPr>
            <p:cNvSpPr/>
            <p:nvPr/>
          </p:nvSpPr>
          <p:spPr>
            <a:xfrm>
              <a:off x="11098527" y="1670209"/>
              <a:ext cx="355918" cy="35591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 name="Graphic 8" descr="Icon of a checklist">
              <a:extLst>
                <a:ext uri="{FF2B5EF4-FFF2-40B4-BE49-F238E27FC236}">
                  <a16:creationId xmlns:a16="http://schemas.microsoft.com/office/drawing/2014/main" id="{E2B995DE-BF65-2581-8940-19F729E57165}"/>
                </a:ext>
              </a:extLst>
            </p:cNvPr>
            <p:cNvSpPr>
              <a:spLocks noChangeAspect="1"/>
            </p:cNvSpPr>
            <p:nvPr/>
          </p:nvSpPr>
          <p:spPr>
            <a:xfrm>
              <a:off x="11171060" y="1742758"/>
              <a:ext cx="210854" cy="210820"/>
            </a:xfrm>
            <a:custGeom>
              <a:avLst/>
              <a:gdLst>
                <a:gd name="connsiteX0" fmla="*/ 57292 w 269782"/>
                <a:gd name="connsiteY0" fmla="*/ 188849 h 269743"/>
                <a:gd name="connsiteX1" fmla="*/ 80894 w 269782"/>
                <a:gd name="connsiteY1" fmla="*/ 212451 h 269743"/>
                <a:gd name="connsiteX2" fmla="*/ 80894 w 269782"/>
                <a:gd name="connsiteY2" fmla="*/ 246141 h 269743"/>
                <a:gd name="connsiteX3" fmla="*/ 57292 w 269782"/>
                <a:gd name="connsiteY3" fmla="*/ 269743 h 269743"/>
                <a:gd name="connsiteX4" fmla="*/ 23603 w 269782"/>
                <a:gd name="connsiteY4" fmla="*/ 269743 h 269743"/>
                <a:gd name="connsiteX5" fmla="*/ 0 w 269782"/>
                <a:gd name="connsiteY5" fmla="*/ 246141 h 269743"/>
                <a:gd name="connsiteX6" fmla="*/ 0 w 269782"/>
                <a:gd name="connsiteY6" fmla="*/ 212451 h 269743"/>
                <a:gd name="connsiteX7" fmla="*/ 23603 w 269782"/>
                <a:gd name="connsiteY7" fmla="*/ 188849 h 269743"/>
                <a:gd name="connsiteX8" fmla="*/ 57292 w 269782"/>
                <a:gd name="connsiteY8" fmla="*/ 188849 h 269743"/>
                <a:gd name="connsiteX9" fmla="*/ 57292 w 269782"/>
                <a:gd name="connsiteY9" fmla="*/ 209079 h 269743"/>
                <a:gd name="connsiteX10" fmla="*/ 23603 w 269782"/>
                <a:gd name="connsiteY10" fmla="*/ 209079 h 269743"/>
                <a:gd name="connsiteX11" fmla="*/ 20231 w 269782"/>
                <a:gd name="connsiteY11" fmla="*/ 212451 h 269743"/>
                <a:gd name="connsiteX12" fmla="*/ 20231 w 269782"/>
                <a:gd name="connsiteY12" fmla="*/ 246141 h 269743"/>
                <a:gd name="connsiteX13" fmla="*/ 23603 w 269782"/>
                <a:gd name="connsiteY13" fmla="*/ 249513 h 269743"/>
                <a:gd name="connsiteX14" fmla="*/ 57292 w 269782"/>
                <a:gd name="connsiteY14" fmla="*/ 249513 h 269743"/>
                <a:gd name="connsiteX15" fmla="*/ 60664 w 269782"/>
                <a:gd name="connsiteY15" fmla="*/ 246141 h 269743"/>
                <a:gd name="connsiteX16" fmla="*/ 60664 w 269782"/>
                <a:gd name="connsiteY16" fmla="*/ 212451 h 269743"/>
                <a:gd name="connsiteX17" fmla="*/ 57292 w 269782"/>
                <a:gd name="connsiteY17" fmla="*/ 209079 h 269743"/>
                <a:gd name="connsiteX18" fmla="*/ 104500 w 269782"/>
                <a:gd name="connsiteY18" fmla="*/ 215795 h 269743"/>
                <a:gd name="connsiteX19" fmla="*/ 259667 w 269782"/>
                <a:gd name="connsiteY19" fmla="*/ 215795 h 269743"/>
                <a:gd name="connsiteX20" fmla="*/ 269782 w 269782"/>
                <a:gd name="connsiteY20" fmla="*/ 225910 h 269743"/>
                <a:gd name="connsiteX21" fmla="*/ 261040 w 269782"/>
                <a:gd name="connsiteY21" fmla="*/ 235934 h 269743"/>
                <a:gd name="connsiteX22" fmla="*/ 259667 w 269782"/>
                <a:gd name="connsiteY22" fmla="*/ 236025 h 269743"/>
                <a:gd name="connsiteX23" fmla="*/ 104500 w 269782"/>
                <a:gd name="connsiteY23" fmla="*/ 236025 h 269743"/>
                <a:gd name="connsiteX24" fmla="*/ 94384 w 269782"/>
                <a:gd name="connsiteY24" fmla="*/ 225910 h 269743"/>
                <a:gd name="connsiteX25" fmla="*/ 103127 w 269782"/>
                <a:gd name="connsiteY25" fmla="*/ 215886 h 269743"/>
                <a:gd name="connsiteX26" fmla="*/ 104500 w 269782"/>
                <a:gd name="connsiteY26" fmla="*/ 215795 h 269743"/>
                <a:gd name="connsiteX27" fmla="*/ 259667 w 269782"/>
                <a:gd name="connsiteY27" fmla="*/ 215795 h 269743"/>
                <a:gd name="connsiteX28" fmla="*/ 104500 w 269782"/>
                <a:gd name="connsiteY28" fmla="*/ 215795 h 269743"/>
                <a:gd name="connsiteX29" fmla="*/ 57292 w 269782"/>
                <a:gd name="connsiteY29" fmla="*/ 94424 h 269743"/>
                <a:gd name="connsiteX30" fmla="*/ 80894 w 269782"/>
                <a:gd name="connsiteY30" fmla="*/ 118028 h 269743"/>
                <a:gd name="connsiteX31" fmla="*/ 80894 w 269782"/>
                <a:gd name="connsiteY31" fmla="*/ 151716 h 269743"/>
                <a:gd name="connsiteX32" fmla="*/ 57292 w 269782"/>
                <a:gd name="connsiteY32" fmla="*/ 175318 h 269743"/>
                <a:gd name="connsiteX33" fmla="*/ 23603 w 269782"/>
                <a:gd name="connsiteY33" fmla="*/ 175318 h 269743"/>
                <a:gd name="connsiteX34" fmla="*/ 0 w 269782"/>
                <a:gd name="connsiteY34" fmla="*/ 151716 h 269743"/>
                <a:gd name="connsiteX35" fmla="*/ 0 w 269782"/>
                <a:gd name="connsiteY35" fmla="*/ 118028 h 269743"/>
                <a:gd name="connsiteX36" fmla="*/ 23603 w 269782"/>
                <a:gd name="connsiteY36" fmla="*/ 94424 h 269743"/>
                <a:gd name="connsiteX37" fmla="*/ 57292 w 269782"/>
                <a:gd name="connsiteY37" fmla="*/ 94424 h 269743"/>
                <a:gd name="connsiteX38" fmla="*/ 57292 w 269782"/>
                <a:gd name="connsiteY38" fmla="*/ 114656 h 269743"/>
                <a:gd name="connsiteX39" fmla="*/ 23603 w 269782"/>
                <a:gd name="connsiteY39" fmla="*/ 114656 h 269743"/>
                <a:gd name="connsiteX40" fmla="*/ 20231 w 269782"/>
                <a:gd name="connsiteY40" fmla="*/ 118028 h 269743"/>
                <a:gd name="connsiteX41" fmla="*/ 20231 w 269782"/>
                <a:gd name="connsiteY41" fmla="*/ 151716 h 269743"/>
                <a:gd name="connsiteX42" fmla="*/ 23603 w 269782"/>
                <a:gd name="connsiteY42" fmla="*/ 155088 h 269743"/>
                <a:gd name="connsiteX43" fmla="*/ 57292 w 269782"/>
                <a:gd name="connsiteY43" fmla="*/ 155088 h 269743"/>
                <a:gd name="connsiteX44" fmla="*/ 60664 w 269782"/>
                <a:gd name="connsiteY44" fmla="*/ 151716 h 269743"/>
                <a:gd name="connsiteX45" fmla="*/ 60664 w 269782"/>
                <a:gd name="connsiteY45" fmla="*/ 118028 h 269743"/>
                <a:gd name="connsiteX46" fmla="*/ 57292 w 269782"/>
                <a:gd name="connsiteY46" fmla="*/ 114656 h 269743"/>
                <a:gd name="connsiteX47" fmla="*/ 104500 w 269782"/>
                <a:gd name="connsiteY47" fmla="*/ 121385 h 269743"/>
                <a:gd name="connsiteX48" fmla="*/ 259667 w 269782"/>
                <a:gd name="connsiteY48" fmla="*/ 121385 h 269743"/>
                <a:gd name="connsiteX49" fmla="*/ 269782 w 269782"/>
                <a:gd name="connsiteY49" fmla="*/ 131500 h 269743"/>
                <a:gd name="connsiteX50" fmla="*/ 261040 w 269782"/>
                <a:gd name="connsiteY50" fmla="*/ 141524 h 269743"/>
                <a:gd name="connsiteX51" fmla="*/ 259667 w 269782"/>
                <a:gd name="connsiteY51" fmla="*/ 141615 h 269743"/>
                <a:gd name="connsiteX52" fmla="*/ 104500 w 269782"/>
                <a:gd name="connsiteY52" fmla="*/ 141615 h 269743"/>
                <a:gd name="connsiteX53" fmla="*/ 94384 w 269782"/>
                <a:gd name="connsiteY53" fmla="*/ 131500 h 269743"/>
                <a:gd name="connsiteX54" fmla="*/ 103127 w 269782"/>
                <a:gd name="connsiteY54" fmla="*/ 121476 h 269743"/>
                <a:gd name="connsiteX55" fmla="*/ 104500 w 269782"/>
                <a:gd name="connsiteY55" fmla="*/ 121385 h 269743"/>
                <a:gd name="connsiteX56" fmla="*/ 259667 w 269782"/>
                <a:gd name="connsiteY56" fmla="*/ 121385 h 269743"/>
                <a:gd name="connsiteX57" fmla="*/ 104500 w 269782"/>
                <a:gd name="connsiteY57" fmla="*/ 121385 h 269743"/>
                <a:gd name="connsiteX58" fmla="*/ 57292 w 269782"/>
                <a:gd name="connsiteY58" fmla="*/ 0 h 269743"/>
                <a:gd name="connsiteX59" fmla="*/ 80894 w 269782"/>
                <a:gd name="connsiteY59" fmla="*/ 23603 h 269743"/>
                <a:gd name="connsiteX60" fmla="*/ 80894 w 269782"/>
                <a:gd name="connsiteY60" fmla="*/ 57292 h 269743"/>
                <a:gd name="connsiteX61" fmla="*/ 57292 w 269782"/>
                <a:gd name="connsiteY61" fmla="*/ 80894 h 269743"/>
                <a:gd name="connsiteX62" fmla="*/ 23603 w 269782"/>
                <a:gd name="connsiteY62" fmla="*/ 80894 h 269743"/>
                <a:gd name="connsiteX63" fmla="*/ 0 w 269782"/>
                <a:gd name="connsiteY63" fmla="*/ 57292 h 269743"/>
                <a:gd name="connsiteX64" fmla="*/ 0 w 269782"/>
                <a:gd name="connsiteY64" fmla="*/ 23603 h 269743"/>
                <a:gd name="connsiteX65" fmla="*/ 23603 w 269782"/>
                <a:gd name="connsiteY65" fmla="*/ 0 h 269743"/>
                <a:gd name="connsiteX66" fmla="*/ 57292 w 269782"/>
                <a:gd name="connsiteY66" fmla="*/ 0 h 269743"/>
                <a:gd name="connsiteX67" fmla="*/ 57292 w 269782"/>
                <a:gd name="connsiteY67" fmla="*/ 20231 h 269743"/>
                <a:gd name="connsiteX68" fmla="*/ 23603 w 269782"/>
                <a:gd name="connsiteY68" fmla="*/ 20231 h 269743"/>
                <a:gd name="connsiteX69" fmla="*/ 20231 w 269782"/>
                <a:gd name="connsiteY69" fmla="*/ 23603 h 269743"/>
                <a:gd name="connsiteX70" fmla="*/ 20231 w 269782"/>
                <a:gd name="connsiteY70" fmla="*/ 57292 h 269743"/>
                <a:gd name="connsiteX71" fmla="*/ 23603 w 269782"/>
                <a:gd name="connsiteY71" fmla="*/ 60664 h 269743"/>
                <a:gd name="connsiteX72" fmla="*/ 57292 w 269782"/>
                <a:gd name="connsiteY72" fmla="*/ 60664 h 269743"/>
                <a:gd name="connsiteX73" fmla="*/ 60664 w 269782"/>
                <a:gd name="connsiteY73" fmla="*/ 57292 h 269743"/>
                <a:gd name="connsiteX74" fmla="*/ 60664 w 269782"/>
                <a:gd name="connsiteY74" fmla="*/ 23603 h 269743"/>
                <a:gd name="connsiteX75" fmla="*/ 57292 w 269782"/>
                <a:gd name="connsiteY75" fmla="*/ 20231 h 269743"/>
                <a:gd name="connsiteX76" fmla="*/ 104500 w 269782"/>
                <a:gd name="connsiteY76" fmla="*/ 26974 h 269743"/>
                <a:gd name="connsiteX77" fmla="*/ 259667 w 269782"/>
                <a:gd name="connsiteY77" fmla="*/ 26974 h 269743"/>
                <a:gd name="connsiteX78" fmla="*/ 269782 w 269782"/>
                <a:gd name="connsiteY78" fmla="*/ 37090 h 269743"/>
                <a:gd name="connsiteX79" fmla="*/ 261040 w 269782"/>
                <a:gd name="connsiteY79" fmla="*/ 47113 h 269743"/>
                <a:gd name="connsiteX80" fmla="*/ 259667 w 269782"/>
                <a:gd name="connsiteY80" fmla="*/ 47205 h 269743"/>
                <a:gd name="connsiteX81" fmla="*/ 104500 w 269782"/>
                <a:gd name="connsiteY81" fmla="*/ 47205 h 269743"/>
                <a:gd name="connsiteX82" fmla="*/ 94384 w 269782"/>
                <a:gd name="connsiteY82" fmla="*/ 37090 h 269743"/>
                <a:gd name="connsiteX83" fmla="*/ 103127 w 269782"/>
                <a:gd name="connsiteY83" fmla="*/ 27067 h 269743"/>
                <a:gd name="connsiteX84" fmla="*/ 104500 w 269782"/>
                <a:gd name="connsiteY84" fmla="*/ 26974 h 269743"/>
                <a:gd name="connsiteX85" fmla="*/ 259667 w 269782"/>
                <a:gd name="connsiteY85" fmla="*/ 26974 h 269743"/>
                <a:gd name="connsiteX86" fmla="*/ 104500 w 269782"/>
                <a:gd name="connsiteY86" fmla="*/ 26974 h 26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69782" h="269743">
                  <a:moveTo>
                    <a:pt x="57292" y="188849"/>
                  </a:moveTo>
                  <a:cubicBezTo>
                    <a:pt x="70327" y="188849"/>
                    <a:pt x="80894" y="199416"/>
                    <a:pt x="80894" y="212451"/>
                  </a:cubicBezTo>
                  <a:lnTo>
                    <a:pt x="80894" y="246141"/>
                  </a:lnTo>
                  <a:cubicBezTo>
                    <a:pt x="80894" y="259176"/>
                    <a:pt x="70327" y="269743"/>
                    <a:pt x="57292" y="269743"/>
                  </a:cubicBezTo>
                  <a:lnTo>
                    <a:pt x="23603" y="269743"/>
                  </a:lnTo>
                  <a:cubicBezTo>
                    <a:pt x="10567" y="269743"/>
                    <a:pt x="0" y="259176"/>
                    <a:pt x="0" y="246141"/>
                  </a:cubicBezTo>
                  <a:lnTo>
                    <a:pt x="0" y="212451"/>
                  </a:lnTo>
                  <a:cubicBezTo>
                    <a:pt x="0" y="199416"/>
                    <a:pt x="10567" y="188849"/>
                    <a:pt x="23603" y="188849"/>
                  </a:cubicBezTo>
                  <a:lnTo>
                    <a:pt x="57292" y="188849"/>
                  </a:lnTo>
                  <a:close/>
                  <a:moveTo>
                    <a:pt x="57292" y="209079"/>
                  </a:moveTo>
                  <a:lnTo>
                    <a:pt x="23603" y="209079"/>
                  </a:lnTo>
                  <a:cubicBezTo>
                    <a:pt x="21740" y="209079"/>
                    <a:pt x="20231" y="210590"/>
                    <a:pt x="20231" y="212451"/>
                  </a:cubicBezTo>
                  <a:lnTo>
                    <a:pt x="20231" y="246141"/>
                  </a:lnTo>
                  <a:cubicBezTo>
                    <a:pt x="20231" y="248003"/>
                    <a:pt x="21740" y="249513"/>
                    <a:pt x="23603" y="249513"/>
                  </a:cubicBezTo>
                  <a:lnTo>
                    <a:pt x="57292" y="249513"/>
                  </a:lnTo>
                  <a:cubicBezTo>
                    <a:pt x="59154" y="249513"/>
                    <a:pt x="60664" y="248003"/>
                    <a:pt x="60664" y="246141"/>
                  </a:cubicBezTo>
                  <a:lnTo>
                    <a:pt x="60664" y="212451"/>
                  </a:lnTo>
                  <a:cubicBezTo>
                    <a:pt x="60664" y="210590"/>
                    <a:pt x="59154" y="209079"/>
                    <a:pt x="57292" y="209079"/>
                  </a:cubicBezTo>
                  <a:close/>
                  <a:moveTo>
                    <a:pt x="104500" y="215795"/>
                  </a:moveTo>
                  <a:lnTo>
                    <a:pt x="259667" y="215795"/>
                  </a:lnTo>
                  <a:cubicBezTo>
                    <a:pt x="265253" y="215795"/>
                    <a:pt x="269782" y="220324"/>
                    <a:pt x="269782" y="225910"/>
                  </a:cubicBezTo>
                  <a:cubicBezTo>
                    <a:pt x="269782" y="231031"/>
                    <a:pt x="265976" y="235263"/>
                    <a:pt x="261040" y="235934"/>
                  </a:cubicBezTo>
                  <a:lnTo>
                    <a:pt x="259667" y="236025"/>
                  </a:lnTo>
                  <a:lnTo>
                    <a:pt x="104500" y="236025"/>
                  </a:lnTo>
                  <a:cubicBezTo>
                    <a:pt x="98913" y="236025"/>
                    <a:pt x="94384" y="231496"/>
                    <a:pt x="94384" y="225910"/>
                  </a:cubicBezTo>
                  <a:cubicBezTo>
                    <a:pt x="94384" y="220789"/>
                    <a:pt x="98190" y="216557"/>
                    <a:pt x="103127" y="215886"/>
                  </a:cubicBezTo>
                  <a:lnTo>
                    <a:pt x="104500" y="215795"/>
                  </a:lnTo>
                  <a:lnTo>
                    <a:pt x="259667" y="215795"/>
                  </a:lnTo>
                  <a:lnTo>
                    <a:pt x="104500" y="215795"/>
                  </a:lnTo>
                  <a:close/>
                  <a:moveTo>
                    <a:pt x="57292" y="94424"/>
                  </a:moveTo>
                  <a:cubicBezTo>
                    <a:pt x="70327" y="94424"/>
                    <a:pt x="80894" y="104992"/>
                    <a:pt x="80894" y="118028"/>
                  </a:cubicBezTo>
                  <a:lnTo>
                    <a:pt x="80894" y="151716"/>
                  </a:lnTo>
                  <a:cubicBezTo>
                    <a:pt x="80894" y="164751"/>
                    <a:pt x="70327" y="175318"/>
                    <a:pt x="57292" y="175318"/>
                  </a:cubicBezTo>
                  <a:lnTo>
                    <a:pt x="23603" y="175318"/>
                  </a:lnTo>
                  <a:cubicBezTo>
                    <a:pt x="10567" y="175318"/>
                    <a:pt x="0" y="164751"/>
                    <a:pt x="0" y="151716"/>
                  </a:cubicBezTo>
                  <a:lnTo>
                    <a:pt x="0" y="118028"/>
                  </a:lnTo>
                  <a:cubicBezTo>
                    <a:pt x="0" y="104992"/>
                    <a:pt x="10567" y="94424"/>
                    <a:pt x="23603" y="94424"/>
                  </a:cubicBezTo>
                  <a:lnTo>
                    <a:pt x="57292" y="94424"/>
                  </a:lnTo>
                  <a:close/>
                  <a:moveTo>
                    <a:pt x="57292" y="114656"/>
                  </a:moveTo>
                  <a:lnTo>
                    <a:pt x="23603" y="114656"/>
                  </a:lnTo>
                  <a:cubicBezTo>
                    <a:pt x="21740" y="114656"/>
                    <a:pt x="20231" y="116165"/>
                    <a:pt x="20231" y="118028"/>
                  </a:cubicBezTo>
                  <a:lnTo>
                    <a:pt x="20231" y="151716"/>
                  </a:lnTo>
                  <a:cubicBezTo>
                    <a:pt x="20231" y="153578"/>
                    <a:pt x="21740" y="155088"/>
                    <a:pt x="23603" y="155088"/>
                  </a:cubicBezTo>
                  <a:lnTo>
                    <a:pt x="57292" y="155088"/>
                  </a:lnTo>
                  <a:cubicBezTo>
                    <a:pt x="59154" y="155088"/>
                    <a:pt x="60664" y="153578"/>
                    <a:pt x="60664" y="151716"/>
                  </a:cubicBezTo>
                  <a:lnTo>
                    <a:pt x="60664" y="118028"/>
                  </a:lnTo>
                  <a:cubicBezTo>
                    <a:pt x="60664" y="116165"/>
                    <a:pt x="59154" y="114656"/>
                    <a:pt x="57292" y="114656"/>
                  </a:cubicBezTo>
                  <a:close/>
                  <a:moveTo>
                    <a:pt x="104500" y="121385"/>
                  </a:moveTo>
                  <a:lnTo>
                    <a:pt x="259667" y="121385"/>
                  </a:lnTo>
                  <a:cubicBezTo>
                    <a:pt x="265253" y="121385"/>
                    <a:pt x="269782" y="125913"/>
                    <a:pt x="269782" y="131500"/>
                  </a:cubicBezTo>
                  <a:cubicBezTo>
                    <a:pt x="269782" y="136621"/>
                    <a:pt x="265976" y="140853"/>
                    <a:pt x="261040" y="141524"/>
                  </a:cubicBezTo>
                  <a:lnTo>
                    <a:pt x="259667" y="141615"/>
                  </a:lnTo>
                  <a:lnTo>
                    <a:pt x="104500" y="141615"/>
                  </a:lnTo>
                  <a:cubicBezTo>
                    <a:pt x="98913" y="141615"/>
                    <a:pt x="94384" y="137086"/>
                    <a:pt x="94384" y="131500"/>
                  </a:cubicBezTo>
                  <a:cubicBezTo>
                    <a:pt x="94384" y="126379"/>
                    <a:pt x="98190" y="122147"/>
                    <a:pt x="103127" y="121476"/>
                  </a:cubicBezTo>
                  <a:lnTo>
                    <a:pt x="104500" y="121385"/>
                  </a:lnTo>
                  <a:lnTo>
                    <a:pt x="259667" y="121385"/>
                  </a:lnTo>
                  <a:lnTo>
                    <a:pt x="104500" y="121385"/>
                  </a:lnTo>
                  <a:close/>
                  <a:moveTo>
                    <a:pt x="57292" y="0"/>
                  </a:moveTo>
                  <a:cubicBezTo>
                    <a:pt x="70327" y="0"/>
                    <a:pt x="80894" y="10567"/>
                    <a:pt x="80894" y="23603"/>
                  </a:cubicBezTo>
                  <a:lnTo>
                    <a:pt x="80894" y="57292"/>
                  </a:lnTo>
                  <a:cubicBezTo>
                    <a:pt x="80894" y="70327"/>
                    <a:pt x="70327" y="80894"/>
                    <a:pt x="57292" y="80894"/>
                  </a:cubicBezTo>
                  <a:lnTo>
                    <a:pt x="23603" y="80894"/>
                  </a:lnTo>
                  <a:cubicBezTo>
                    <a:pt x="10567" y="80894"/>
                    <a:pt x="0" y="70327"/>
                    <a:pt x="0" y="57292"/>
                  </a:cubicBezTo>
                  <a:lnTo>
                    <a:pt x="0" y="23603"/>
                  </a:lnTo>
                  <a:cubicBezTo>
                    <a:pt x="0" y="10567"/>
                    <a:pt x="10567" y="0"/>
                    <a:pt x="23603" y="0"/>
                  </a:cubicBezTo>
                  <a:lnTo>
                    <a:pt x="57292" y="0"/>
                  </a:lnTo>
                  <a:close/>
                  <a:moveTo>
                    <a:pt x="57292" y="20231"/>
                  </a:moveTo>
                  <a:lnTo>
                    <a:pt x="23603" y="20231"/>
                  </a:lnTo>
                  <a:cubicBezTo>
                    <a:pt x="21740" y="20231"/>
                    <a:pt x="20231" y="21740"/>
                    <a:pt x="20231" y="23603"/>
                  </a:cubicBezTo>
                  <a:lnTo>
                    <a:pt x="20231" y="57292"/>
                  </a:lnTo>
                  <a:cubicBezTo>
                    <a:pt x="20231" y="59154"/>
                    <a:pt x="21740" y="60664"/>
                    <a:pt x="23603" y="60664"/>
                  </a:cubicBezTo>
                  <a:lnTo>
                    <a:pt x="57292" y="60664"/>
                  </a:lnTo>
                  <a:cubicBezTo>
                    <a:pt x="59154" y="60664"/>
                    <a:pt x="60664" y="59154"/>
                    <a:pt x="60664" y="57292"/>
                  </a:cubicBezTo>
                  <a:lnTo>
                    <a:pt x="60664" y="23603"/>
                  </a:lnTo>
                  <a:cubicBezTo>
                    <a:pt x="60664" y="21740"/>
                    <a:pt x="59154" y="20231"/>
                    <a:pt x="57292" y="20231"/>
                  </a:cubicBezTo>
                  <a:close/>
                  <a:moveTo>
                    <a:pt x="104500" y="26974"/>
                  </a:moveTo>
                  <a:lnTo>
                    <a:pt x="259667" y="26974"/>
                  </a:lnTo>
                  <a:cubicBezTo>
                    <a:pt x="265253" y="26974"/>
                    <a:pt x="269782" y="31503"/>
                    <a:pt x="269782" y="37090"/>
                  </a:cubicBezTo>
                  <a:cubicBezTo>
                    <a:pt x="269782" y="42211"/>
                    <a:pt x="265976" y="46443"/>
                    <a:pt x="261040" y="47113"/>
                  </a:cubicBezTo>
                  <a:lnTo>
                    <a:pt x="259667" y="47205"/>
                  </a:lnTo>
                  <a:lnTo>
                    <a:pt x="104500" y="47205"/>
                  </a:lnTo>
                  <a:cubicBezTo>
                    <a:pt x="98913" y="47205"/>
                    <a:pt x="94384" y="42676"/>
                    <a:pt x="94384" y="37090"/>
                  </a:cubicBezTo>
                  <a:cubicBezTo>
                    <a:pt x="94384" y="31969"/>
                    <a:pt x="98190" y="27736"/>
                    <a:pt x="103127" y="27067"/>
                  </a:cubicBezTo>
                  <a:lnTo>
                    <a:pt x="104500" y="26974"/>
                  </a:lnTo>
                  <a:lnTo>
                    <a:pt x="259667" y="26974"/>
                  </a:lnTo>
                  <a:lnTo>
                    <a:pt x="104500" y="26974"/>
                  </a:ln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32" name="Group 31">
            <a:extLst>
              <a:ext uri="{FF2B5EF4-FFF2-40B4-BE49-F238E27FC236}">
                <a16:creationId xmlns:a16="http://schemas.microsoft.com/office/drawing/2014/main" id="{17C084F7-657B-7122-3608-AF07F5CC6949}"/>
              </a:ext>
              <a:ext uri="{C183D7F6-B498-43B3-948B-1728B52AA6E4}">
                <adec:decorative xmlns:adec="http://schemas.microsoft.com/office/drawing/2017/decorative" val="1"/>
              </a:ext>
            </a:extLst>
          </p:cNvPr>
          <p:cNvGrpSpPr/>
          <p:nvPr/>
        </p:nvGrpSpPr>
        <p:grpSpPr>
          <a:xfrm>
            <a:off x="11098527" y="5130641"/>
            <a:ext cx="355918" cy="355918"/>
            <a:chOff x="11187427" y="4978241"/>
            <a:chExt cx="355918" cy="355918"/>
          </a:xfrm>
        </p:grpSpPr>
        <p:sp>
          <p:nvSpPr>
            <p:cNvPr id="22" name="Oval 21">
              <a:extLst>
                <a:ext uri="{FF2B5EF4-FFF2-40B4-BE49-F238E27FC236}">
                  <a16:creationId xmlns:a16="http://schemas.microsoft.com/office/drawing/2014/main" id="{A22E076D-CC58-01BA-FA1A-F26F2DD4BB85}"/>
                </a:ext>
              </a:extLst>
            </p:cNvPr>
            <p:cNvSpPr/>
            <p:nvPr/>
          </p:nvSpPr>
          <p:spPr>
            <a:xfrm>
              <a:off x="11187427" y="4978241"/>
              <a:ext cx="355918" cy="35591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 name="Graphic 104" descr="Icon of an envelope">
              <a:extLst>
                <a:ext uri="{FF2B5EF4-FFF2-40B4-BE49-F238E27FC236}">
                  <a16:creationId xmlns:a16="http://schemas.microsoft.com/office/drawing/2014/main" id="{655D7E6C-8F04-E880-B98D-8EA8C8BD6206}"/>
                </a:ext>
              </a:extLst>
            </p:cNvPr>
            <p:cNvSpPr/>
            <p:nvPr/>
          </p:nvSpPr>
          <p:spPr>
            <a:xfrm>
              <a:off x="11249853" y="5063774"/>
              <a:ext cx="231066" cy="184854"/>
            </a:xfrm>
            <a:custGeom>
              <a:avLst/>
              <a:gdLst>
                <a:gd name="connsiteX0" fmla="*/ 48754 w 300026"/>
                <a:gd name="connsiteY0" fmla="*/ 0 h 240021"/>
                <a:gd name="connsiteX1" fmla="*/ 251272 w 300026"/>
                <a:gd name="connsiteY1" fmla="*/ 0 h 240021"/>
                <a:gd name="connsiteX2" fmla="*/ 299950 w 300026"/>
                <a:gd name="connsiteY2" fmla="*/ 45988 h 240021"/>
                <a:gd name="connsiteX3" fmla="*/ 300027 w 300026"/>
                <a:gd name="connsiteY3" fmla="*/ 48754 h 240021"/>
                <a:gd name="connsiteX4" fmla="*/ 300027 w 300026"/>
                <a:gd name="connsiteY4" fmla="*/ 191267 h 240021"/>
                <a:gd name="connsiteX5" fmla="*/ 254039 w 300026"/>
                <a:gd name="connsiteY5" fmla="*/ 239945 h 240021"/>
                <a:gd name="connsiteX6" fmla="*/ 251272 w 300026"/>
                <a:gd name="connsiteY6" fmla="*/ 240021 h 240021"/>
                <a:gd name="connsiteX7" fmla="*/ 48754 w 300026"/>
                <a:gd name="connsiteY7" fmla="*/ 240021 h 240021"/>
                <a:gd name="connsiteX8" fmla="*/ 77 w 300026"/>
                <a:gd name="connsiteY8" fmla="*/ 194033 h 240021"/>
                <a:gd name="connsiteX9" fmla="*/ 0 w 300026"/>
                <a:gd name="connsiteY9" fmla="*/ 191267 h 240021"/>
                <a:gd name="connsiteX10" fmla="*/ 0 w 300026"/>
                <a:gd name="connsiteY10" fmla="*/ 48754 h 240021"/>
                <a:gd name="connsiteX11" fmla="*/ 45988 w 300026"/>
                <a:gd name="connsiteY11" fmla="*/ 77 h 240021"/>
                <a:gd name="connsiteX12" fmla="*/ 48754 w 300026"/>
                <a:gd name="connsiteY12" fmla="*/ 0 h 240021"/>
                <a:gd name="connsiteX13" fmla="*/ 251272 w 300026"/>
                <a:gd name="connsiteY13" fmla="*/ 0 h 240021"/>
                <a:gd name="connsiteX14" fmla="*/ 48754 w 300026"/>
                <a:gd name="connsiteY14" fmla="*/ 0 h 240021"/>
                <a:gd name="connsiteX15" fmla="*/ 277525 w 300026"/>
                <a:gd name="connsiteY15" fmla="*/ 80602 h 240021"/>
                <a:gd name="connsiteX16" fmla="*/ 155253 w 300026"/>
                <a:gd name="connsiteY16" fmla="*/ 144968 h 240021"/>
                <a:gd name="connsiteX17" fmla="*/ 146215 w 300026"/>
                <a:gd name="connsiteY17" fmla="*/ 145603 h 240021"/>
                <a:gd name="connsiteX18" fmla="*/ 144773 w 300026"/>
                <a:gd name="connsiteY18" fmla="*/ 144968 h 240021"/>
                <a:gd name="connsiteX19" fmla="*/ 22502 w 300026"/>
                <a:gd name="connsiteY19" fmla="*/ 80617 h 240021"/>
                <a:gd name="connsiteX20" fmla="*/ 22502 w 300026"/>
                <a:gd name="connsiteY20" fmla="*/ 191267 h 240021"/>
                <a:gd name="connsiteX21" fmla="*/ 46601 w 300026"/>
                <a:gd name="connsiteY21" fmla="*/ 217432 h 240021"/>
                <a:gd name="connsiteX22" fmla="*/ 48754 w 300026"/>
                <a:gd name="connsiteY22" fmla="*/ 217519 h 240021"/>
                <a:gd name="connsiteX23" fmla="*/ 251272 w 300026"/>
                <a:gd name="connsiteY23" fmla="*/ 217519 h 240021"/>
                <a:gd name="connsiteX24" fmla="*/ 277438 w 300026"/>
                <a:gd name="connsiteY24" fmla="*/ 193420 h 240021"/>
                <a:gd name="connsiteX25" fmla="*/ 277525 w 300026"/>
                <a:gd name="connsiteY25" fmla="*/ 191267 h 240021"/>
                <a:gd name="connsiteX26" fmla="*/ 277525 w 300026"/>
                <a:gd name="connsiteY26" fmla="*/ 80602 h 240021"/>
                <a:gd name="connsiteX27" fmla="*/ 251272 w 300026"/>
                <a:gd name="connsiteY27" fmla="*/ 22502 h 240021"/>
                <a:gd name="connsiteX28" fmla="*/ 48754 w 300026"/>
                <a:gd name="connsiteY28" fmla="*/ 22502 h 240021"/>
                <a:gd name="connsiteX29" fmla="*/ 22589 w 300026"/>
                <a:gd name="connsiteY29" fmla="*/ 46601 h 240021"/>
                <a:gd name="connsiteX30" fmla="*/ 22502 w 300026"/>
                <a:gd name="connsiteY30" fmla="*/ 48754 h 240021"/>
                <a:gd name="connsiteX31" fmla="*/ 22502 w 300026"/>
                <a:gd name="connsiteY31" fmla="*/ 55190 h 240021"/>
                <a:gd name="connsiteX32" fmla="*/ 150013 w 300026"/>
                <a:gd name="connsiteY32" fmla="*/ 122298 h 240021"/>
                <a:gd name="connsiteX33" fmla="*/ 277525 w 300026"/>
                <a:gd name="connsiteY33" fmla="*/ 55175 h 240021"/>
                <a:gd name="connsiteX34" fmla="*/ 277525 w 300026"/>
                <a:gd name="connsiteY34" fmla="*/ 48754 h 240021"/>
                <a:gd name="connsiteX35" fmla="*/ 253425 w 300026"/>
                <a:gd name="connsiteY35" fmla="*/ 22589 h 240021"/>
                <a:gd name="connsiteX36" fmla="*/ 251272 w 300026"/>
                <a:gd name="connsiteY36" fmla="*/ 22502 h 240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00026" h="240021">
                  <a:moveTo>
                    <a:pt x="48754" y="0"/>
                  </a:moveTo>
                  <a:lnTo>
                    <a:pt x="251272" y="0"/>
                  </a:lnTo>
                  <a:cubicBezTo>
                    <a:pt x="277270" y="0"/>
                    <a:pt x="298515" y="20349"/>
                    <a:pt x="299950" y="45988"/>
                  </a:cubicBezTo>
                  <a:lnTo>
                    <a:pt x="300027" y="48754"/>
                  </a:lnTo>
                  <a:lnTo>
                    <a:pt x="300027" y="191267"/>
                  </a:lnTo>
                  <a:cubicBezTo>
                    <a:pt x="300027" y="217264"/>
                    <a:pt x="279677" y="238509"/>
                    <a:pt x="254039" y="239945"/>
                  </a:cubicBezTo>
                  <a:lnTo>
                    <a:pt x="251272" y="240021"/>
                  </a:lnTo>
                  <a:lnTo>
                    <a:pt x="48754" y="240021"/>
                  </a:lnTo>
                  <a:cubicBezTo>
                    <a:pt x="22757" y="240021"/>
                    <a:pt x="1511" y="219672"/>
                    <a:pt x="77" y="194033"/>
                  </a:cubicBezTo>
                  <a:lnTo>
                    <a:pt x="0" y="191267"/>
                  </a:lnTo>
                  <a:lnTo>
                    <a:pt x="0" y="48754"/>
                  </a:lnTo>
                  <a:cubicBezTo>
                    <a:pt x="0" y="22757"/>
                    <a:pt x="20349" y="1511"/>
                    <a:pt x="45988" y="77"/>
                  </a:cubicBezTo>
                  <a:lnTo>
                    <a:pt x="48754" y="0"/>
                  </a:lnTo>
                  <a:lnTo>
                    <a:pt x="251272" y="0"/>
                  </a:lnTo>
                  <a:lnTo>
                    <a:pt x="48754" y="0"/>
                  </a:lnTo>
                  <a:close/>
                  <a:moveTo>
                    <a:pt x="277525" y="80602"/>
                  </a:moveTo>
                  <a:lnTo>
                    <a:pt x="155253" y="144968"/>
                  </a:lnTo>
                  <a:cubicBezTo>
                    <a:pt x="152442" y="146448"/>
                    <a:pt x="149160" y="146659"/>
                    <a:pt x="146215" y="145603"/>
                  </a:cubicBezTo>
                  <a:lnTo>
                    <a:pt x="144773" y="144968"/>
                  </a:lnTo>
                  <a:lnTo>
                    <a:pt x="22502" y="80617"/>
                  </a:lnTo>
                  <a:lnTo>
                    <a:pt x="22502" y="191267"/>
                  </a:lnTo>
                  <a:cubicBezTo>
                    <a:pt x="22502" y="205041"/>
                    <a:pt x="33110" y="216337"/>
                    <a:pt x="46601" y="217432"/>
                  </a:cubicBezTo>
                  <a:lnTo>
                    <a:pt x="48754" y="217519"/>
                  </a:lnTo>
                  <a:lnTo>
                    <a:pt x="251272" y="217519"/>
                  </a:lnTo>
                  <a:cubicBezTo>
                    <a:pt x="265047" y="217519"/>
                    <a:pt x="276343" y="206912"/>
                    <a:pt x="277438" y="193420"/>
                  </a:cubicBezTo>
                  <a:lnTo>
                    <a:pt x="277525" y="191267"/>
                  </a:lnTo>
                  <a:lnTo>
                    <a:pt x="277525" y="80602"/>
                  </a:lnTo>
                  <a:close/>
                  <a:moveTo>
                    <a:pt x="251272" y="22502"/>
                  </a:moveTo>
                  <a:lnTo>
                    <a:pt x="48754" y="22502"/>
                  </a:lnTo>
                  <a:cubicBezTo>
                    <a:pt x="34981" y="22502"/>
                    <a:pt x="23684" y="33110"/>
                    <a:pt x="22589" y="46601"/>
                  </a:cubicBezTo>
                  <a:lnTo>
                    <a:pt x="22502" y="48754"/>
                  </a:lnTo>
                  <a:lnTo>
                    <a:pt x="22502" y="55190"/>
                  </a:lnTo>
                  <a:lnTo>
                    <a:pt x="150013" y="122298"/>
                  </a:lnTo>
                  <a:lnTo>
                    <a:pt x="277525" y="55175"/>
                  </a:lnTo>
                  <a:lnTo>
                    <a:pt x="277525" y="48754"/>
                  </a:lnTo>
                  <a:cubicBezTo>
                    <a:pt x="277525" y="34981"/>
                    <a:pt x="266917" y="23684"/>
                    <a:pt x="253425" y="22589"/>
                  </a:cubicBezTo>
                  <a:lnTo>
                    <a:pt x="251272" y="22502"/>
                  </a:lnTo>
                  <a:close/>
                </a:path>
              </a:pathLst>
            </a:cu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704088"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spTree>
    <p:extLst>
      <p:ext uri="{BB962C8B-B14F-4D97-AF65-F5344CB8AC3E}">
        <p14:creationId xmlns:p14="http://schemas.microsoft.com/office/powerpoint/2010/main" val="479471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Version&quot;:2,&quot;Divider1&quot;:{&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240.0,&quot;Top&quot;:216.0,&quot;Rotation&quot;:-1.0,&quot;CanManageSize&quot;:true,&quot;Width&quot;:700.0,&quot;Height&quot;:108.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0000&quot;,&quot;TextFrameTextRangeFontHighlightColorHexa&quot;:&quot;&quot;,&quot;TextFrameTextRangeFontBold&quot;:0,&quot;TextFrameTextRangeFontItalic&quot;:0,&quot;TextFrameTextRangeFontUnderline&quot;:0,&quot;TextFrameVerticalAnchor&quot;:1,&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true},&quot;Number&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115.2,&quot;Top&quot;:216.0,&quot;Rotation&quot;:-1.0,&quot;CanManageSize&quot;:true,&quot;Width&quot;:81.0,&quot;Height&quot;:8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2,&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C5B4E3&quot;,&quot;FillTransparency&quot;:0.0,&quot;LineVisible&quot;:0,&quot;LineForeColorHexa&quot;:null,&quot;LineWeight&quot;:0.0,&quot;LineDashStyle&quot;:1,&quot;LineEndArrowheadStyle&quot;:1,&quot;LineBeginArrowheadStyle&quot;:1,&quot;ShouldSendToBack&quot;:false,&quot;NeedsApplyToAll&quot;:tru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240.0,&quot;Top&quot;:331.0,&quot;Rotation&quot;:-1.0,&quot;CanManageSize&quot;:true,&quot;Width&quot;:700.0,&quot;Height&quot;:0.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0.0,&quot;LineVisible&quot;:-1,&quot;LineForeColorHexa&quot;:&quot;#C5B4E3&quot;,&quot;LineWeight&quot;:0.0,&quot;LineDashStyle&quot;:1,&quot;LineEndArrowheadStyle&quot;:1,&quot;LineBeginArrowheadStyle&quot;:1,&quot;ShouldSendToBack&quot;:false,&quot;NeedsApplyToAll&quot;:false},&quot;FontSizeShapeRatio&quot;:1.4},&quot;TableOfContent1&quot;:{&quot;MarginLeft&quot;:76.8,&quot;MarginRight&quot;:76.79999,&quot;MarginTop&quot;:86.4,&quot;MarginBottom&quot;:21.599975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Rotation&quot;:0.0,&quot;CanManageSize&quot;:true,&quot;Width&quot;:768.0,&quot;Height&quot;:3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0.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0.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0.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C5B4E3&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000000&quot;,&quot;FillTransparency&quot;:0.0,&quot;LineVisible&quot;:-1,&quot;LineForeColorHexa&quot;:null,&quot;LineWeight&quot;:0.0,&quot;LineDashStyle&quot;:1,&quot;LineEndArrowheadStyle&quot;:1,&quot;LineBeginArrowheadStyle&quot;:1,&quot;ShouldSendToBack&quot;:true,&quot;NeedsApplyToAll&quot;:false},&quot;CoverPag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000000&quot;,&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C5B4E3&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C5B4E3&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FontSizeShapeRatio&quot;:1.4},&quot;TableOfContent3&quot;:{&quot;MarginLeft&quot;:76.8,&quot;MarginRight&quot;:76.8,&quot;MarginTop&quot;:86.4,&quot;MarginBottom&quot;:21.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Rotation&quot;:0.0,&quot;CanManageSize&quot;:true,&quot;Width&quot;:768.0,&quot;Height&quot;:3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C5B4E3&quot;,&quot;FillTransparency&quot;:0.0,&quot;LineVisible&quot;:-1,&quot;LineForeColorHexa&quot;:&quot;#C5B4E3&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C5B4E3&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FFFFFF&quot;,&quot;FillTransparency&quot;:0.0,&quot;LineVisible&quot;:-1,&quot;LineForeColorHexa&quot;:&quot;#C5B4E3&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C5B4E3&quot;,&quot;FillTransparency&quot;:0.0,&quot;LineVisible&quot;:-1,&quot;LineForeColorHexa&quot;:&quot;#C5B4E3&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0.0,&quot;LineVisible&quot;:-1,&quot;LineForeColorHexa&quot;:&quot;#C5B4E3&quot;,&quot;LineWeight&quot;:2.0,&quot;LineDashStyle&quot;:1,&quot;LineEndArrowheadStyle&quot;:1,&quot;LineBeginArrowheadStyle&quot;:1,&quot;ShouldSendToBack&quot;:true,&quot;NeedsApplyToAll&quot;:false},&quot;FontSizeShapeRatio&quot;:1.4},&quot;TableOfContent4&quot;:{&quot;MarginLeft&quot;:76.8,&quot;MarginRight&quot;:76.8,&quot;MarginTop&quot;:86.4,&quot;MarginBottom&quot;:21.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Rotation&quot;:0.0,&quot;CanManageSize&quot;:true,&quot;Width&quot;:768.0,&quot;Height&quot;:3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C5B4E3&quot;,&quot;FillTransparency&quot;:0.0,&quot;LineVisible&quot;:-1,&quot;LineForeColorHexa&quot;:&quot;#C5B4E3&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C5B4E3&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FFFFFF&quot;,&quot;FillTransparency&quot;:0.0,&quot;LineVisible&quot;:-1,&quot;LineForeColorHexa&quot;:&quot;#C5B4E3&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C5B4E3&quot;,&quot;FillTransparency&quot;:0.0,&quot;LineVisible&quot;:-1,&quot;LineForeColorHexa&quot;:&quot;#C5B4E3&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Arc&quot;:{&quot;AutoShapeType&quot;:25,&quot;CalloutType&quot;:1,&quot;CalloutAngle&quot;:2,&quot;CalloutGap&quot;:-3.40282347E+38,&quot;Visible&quot;:-1,&quot;LockAspectRatio&quot;:0,&quot;CanUpdateAdjustments&quot;:fals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0.0,&quot;LineVisible&quot;:-1,&quot;LineForeColorHexa&quot;:&quot;#C5B4E3&quot;,&quot;LineWeight&quot;:2.0,&quot;LineDashStyle&quot;:1,&quot;LineEndArrowheadStyle&quot;:1,&quot;LineBeginArrowheadStyle&quot;:1,&quot;ShouldSendToBack&quot;:true,&quot;NeedsApplyToAll&quot;:false},&quot;FontSizeShapeRatio&quot;:1.4},&quot;Breadcrumb&quot;:{&quot;ShapeDesign&quot;:{&quot;Active&quot;:{&quot;AutoShapeType&quot;:51,&quot;CalloutType&quot;:1,&quot;CalloutAngle&quot;:2,&quot;CalloutGap&quot;:-3.40282347E+38,&quot;Visible&quot;:-1,&quot;LockAspectRatio&quot;:0,&quot;CanUpdateAdjustments&quot;:true,&quot;Adjustment1&quot;:-1.0,&quot;Adjustment2&quot;:-1.0,&quot;Adjustment3&quot;:-1.0,&quot;Adjustment4&quot;:-1.0,&quot;CanManagePosition&quot;:false,&quot;Left&quot;:0.0,&quot;Top&quot;:0.0,&quot;Rotation&quot;:-1.0,&quot;CanManageSize&quot;:true,&quot;Width&quot;:0.0,&quot;Height&quot;:20.0,&quot;TextFrame2AutoSize&quot;:1,&quot;TextFrame2TextRangeFontName&quot;:&quot;&quot;,&quot;TextFrameMarginTop&quot;:0.0,&quot;TextFrameMarginLeft&quot;:20.0,&quot;TextFrameMarginRight&quot;:10.0,&quot;TextFrameMarginBottom&quot;:0.0,&quot;TextFrameWordWrap&quot;:0,&quot;TextFrameTextRangeFontSize&quot;:18.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false,&quot;FillVisible&quot;:-1,&quot;FillForeColorHexa&quot;:&quot;#595959&quot;,&quot;FillTransparency&quot;:0.0,&quot;LineVisible&quot;:-1,&quot;LineForeColorHexa&quot;:&quot;#595959&quot;,&quot;LineWeight&quot;:1.0,&quot;LineDashStyle&quot;:1,&quot;LineEndArrowheadStyle&quot;:1,&quot;LineBeginArrowheadStyle&quot;:1,&quot;ShouldSendToBack&quot;:false,&quot;NeedsApplyToAll&quot;:false},&quot;Inactive&quot;:{&quot;AutoShapeType&quot;:51,&quot;CalloutType&quot;:1,&quot;CalloutAngle&quot;:2,&quot;CalloutGap&quot;:-3.40282347E+38,&quot;Visible&quot;:-1,&quot;LockAspectRatio&quot;:0,&quot;CanUpdateAdjustments&quot;:true,&quot;Adjustment1&quot;:-1.0,&quot;Adjustment2&quot;:-1.0,&quot;Adjustment3&quot;:-1.0,&quot;Adjustment4&quot;:-1.0,&quot;CanManagePosition&quot;:false,&quot;Left&quot;:0.0,&quot;Top&quot;:0.0,&quot;Rotation&quot;:-1.0,&quot;CanManageSize&quot;:true,&quot;Width&quot;:0.0,&quot;Height&quot;:20.0,&quot;TextFrame2AutoSize&quot;:1,&quot;TextFrame2TextRangeFontName&quot;:&quot;&quot;,&quot;TextFrameMarginTop&quot;:0.0,&quot;TextFrameMarginLeft&quot;:20.0,&quot;TextFrameMarginRight&quot;:10.0,&quot;TextFrameMarginBottom&quot;:0.0,&quot;TextFrameWordWrap&quot;:0,&quot;TextFrameTextRangeFontSize&quot;:18.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false,&quot;FillVisible&quot;:-1,&quot;FillForeColorHexa&quot;:&quot;#D9D9D9&quot;,&quot;FillTransparency&quot;:0.0,&quot;LineVisible&quot;:-1,&quot;LineForeColorHexa&quot;:&quot;#595959&quot;,&quot;LineWeight&quot;:1.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000000&quot;,&quot;FillTransparency&quot;:0.0,&quot;LineVisible&quot;:-1,&quot;LineForeColorHexa&quot;:null,&quot;LineWeight&quot;:0.0,&quot;LineDashStyle&quot;:1,&quot;LineEndArrowheadStyle&quot;:1,&quot;LineBeginArrowheadStyle&quot;:1,&quot;ShouldSendToBack&quot;:false,&quot;NeedsApplyToAll&quot;:false}},&quot;LeftOffsetAfterFirstShape&quot;:-10.0,&quot;FontSizeShapeRatio&quot;:1.4}}"/>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Copilot pallet">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FFA38B"/>
      </a:hlink>
      <a:folHlink>
        <a:srgbClr val="FFE399"/>
      </a:folHlink>
    </a:clrScheme>
    <a:fontScheme name="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opilot pallet">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FFA38B"/>
      </a:hlink>
      <a:folHlink>
        <a:srgbClr val="FFE399"/>
      </a:folHlink>
    </a:clrScheme>
    <a:fontScheme name="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Copilot pallet">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FFA38B"/>
    </a:hlink>
    <a:folHlink>
      <a:srgbClr val="FFE39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d1eada8-68ad-46cb-8116-2c5023655792">
      <Terms xmlns="http://schemas.microsoft.com/office/infopath/2007/PartnerControls"/>
    </lcf76f155ced4ddcb4097134ff3c332f>
    <TaxCatchAll xmlns="fc8b6be3-cf54-4fa6-9998-c5773e462a23" xsi:nil="true"/>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A8D030735CA3E4B9C779C022532B7D5" ma:contentTypeVersion="14" ma:contentTypeDescription="Create a new document." ma:contentTypeScope="" ma:versionID="fb46fb654b1982a1ecfe9526ee4386e9">
  <xsd:schema xmlns:xsd="http://www.w3.org/2001/XMLSchema" xmlns:xs="http://www.w3.org/2001/XMLSchema" xmlns:p="http://schemas.microsoft.com/office/2006/metadata/properties" xmlns:ns1="http://schemas.microsoft.com/sharepoint/v3" xmlns:ns2="3d1eada8-68ad-46cb-8116-2c5023655792" xmlns:ns3="fc8b6be3-cf54-4fa6-9998-c5773e462a23" targetNamespace="http://schemas.microsoft.com/office/2006/metadata/properties" ma:root="true" ma:fieldsID="52d6bbea153fbca6513d6b7fb6f75a74" ns1:_="" ns2:_="" ns3:_="">
    <xsd:import namespace="http://schemas.microsoft.com/sharepoint/v3"/>
    <xsd:import namespace="3d1eada8-68ad-46cb-8116-2c5023655792"/>
    <xsd:import namespace="fc8b6be3-cf54-4fa6-9998-c5773e462a23"/>
    <xsd:element name="properties">
      <xsd:complexType>
        <xsd:sequence>
          <xsd:element name="documentManagement">
            <xsd:complexType>
              <xsd:all>
                <xsd:element ref="ns2:MediaServiceBillingMetadata" minOccurs="0"/>
                <xsd:element ref="ns2:MediaServiceMetadata" minOccurs="0"/>
                <xsd:element ref="ns2:MediaServiceFastMetadata" minOccurs="0"/>
                <xsd:element ref="ns2:MediaServiceSearchProperties" minOccurs="0"/>
                <xsd:element ref="ns1:_ip_UnifiedCompliancePolicyProperties" minOccurs="0"/>
                <xsd:element ref="ns1:_ip_UnifiedCompliancePolicyUIAction"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d1eada8-68ad-46cb-8116-2c5023655792" elementFormDefault="qualified">
    <xsd:import namespace="http://schemas.microsoft.com/office/2006/documentManagement/types"/>
    <xsd:import namespace="http://schemas.microsoft.com/office/infopath/2007/PartnerControls"/>
    <xsd:element name="MediaServiceBillingMetadata" ma:index="8" nillable="true" ma:displayName="MediaServiceBillingMetadata" ma:hidden="true" ma:internalName="MediaServiceBillingMetadata" ma:readOnly="true">
      <xsd:simpleType>
        <xsd:restriction base="dms:Note"/>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c8b6be3-cf54-4fa6-9998-c5773e462a23"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d829337c-e1a2-4421-afae-f395efb0d9ec}" ma:internalName="TaxCatchAll" ma:showField="CatchAllData" ma:web="fc8b6be3-cf54-4fa6-9998-c5773e462a2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A9201-DD81-41A8-9F6B-D9DA27614B58}">
  <ds:schemaRefs>
    <ds:schemaRef ds:uri="http://schemas.microsoft.com/sharepoint/v3/contenttype/forms"/>
  </ds:schemaRefs>
</ds:datastoreItem>
</file>

<file path=customXml/itemProps2.xml><?xml version="1.0" encoding="utf-8"?>
<ds:datastoreItem xmlns:ds="http://schemas.openxmlformats.org/officeDocument/2006/customXml" ds:itemID="{879E914F-36C6-4230-82D4-96BC2E731792}">
  <ds:schemaRefs>
    <ds:schemaRef ds:uri="3d1eada8-68ad-46cb-8116-2c5023655792"/>
    <ds:schemaRef ds:uri="fc8b6be3-cf54-4fa6-9998-c5773e462a2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1F6A48F-7284-4F02-B5AA-4D34EFBA7CC4}">
  <ds:schemaRefs>
    <ds:schemaRef ds:uri="3d1eada8-68ad-46cb-8116-2c5023655792"/>
    <ds:schemaRef ds:uri="fc8b6be3-cf54-4fa6-9998-c5773e462a2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Application>Microsoft Office PowerPoint</Application>
  <PresentationFormat>Widescreen</PresentationFormat>
  <Slides>6</Slides>
  <Notes>6</Notes>
  <HiddenSlides>0</HiddenSlides>
  <ScaleCrop>false</ScaleCrop>
  <HeadingPairs>
    <vt:vector size="4" baseType="variant">
      <vt:variant>
        <vt:lpstr>Theme</vt:lpstr>
      </vt:variant>
      <vt:variant>
        <vt:i4>2</vt:i4>
      </vt:variant>
      <vt:variant>
        <vt:lpstr>Slide Titles</vt:lpstr>
      </vt:variant>
      <vt:variant>
        <vt:i4>6</vt:i4>
      </vt:variant>
    </vt:vector>
  </HeadingPairs>
  <TitlesOfParts>
    <vt:vector size="8" baseType="lpstr">
      <vt:lpstr>Office Theme</vt:lpstr>
      <vt:lpstr>1_Office Theme</vt:lpstr>
      <vt:lpstr>Copilot Agent Hackathon</vt:lpstr>
      <vt:lpstr>Agent Hackathon objectives </vt:lpstr>
      <vt:lpstr>Event Agenda </vt:lpstr>
      <vt:lpstr>Attendee requirements</vt:lpstr>
      <vt:lpstr>Speakers &amp; supporting team</vt:lpstr>
      <vt:lpstr>Event recommendation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ent Hackathon - Internal Overview</dc:title>
  <dc:creator>Paula Costa</dc:creator>
  <cp:revision>2</cp:revision>
  <dcterms:created xsi:type="dcterms:W3CDTF">2025-01-21T09:39:04Z</dcterms:created>
  <dcterms:modified xsi:type="dcterms:W3CDTF">2026-05-29T16:3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8D030735CA3E4B9C779C022532B7D5</vt:lpwstr>
  </property>
  <property fmtid="{D5CDD505-2E9C-101B-9397-08002B2CF9AE}" pid="3" name="Order">
    <vt:lpwstr>5578400.00000000</vt:lpwstr>
  </property>
  <property fmtid="{D5CDD505-2E9C-101B-9397-08002B2CF9AE}" pid="4" name="Size">
    <vt:lpwstr>204106908.000000</vt:lpwstr>
  </property>
  <property fmtid="{D5CDD505-2E9C-101B-9397-08002B2CF9AE}" pid="5" name="xd_ProgID">
    <vt:lpwstr/>
  </property>
  <property fmtid="{D5CDD505-2E9C-101B-9397-08002B2CF9AE}" pid="6" name="MediaServiceImageTags">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y fmtid="{D5CDD505-2E9C-101B-9397-08002B2CF9AE}" pid="11" name="xd_Signature">
    <vt:lpwstr/>
  </property>
</Properties>
</file>